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2" r:id="rId4"/>
    <p:sldMasterId id="2147483889" r:id="rId5"/>
    <p:sldMasterId id="2147483902" r:id="rId6"/>
    <p:sldMasterId id="2147483975" r:id="rId7"/>
    <p:sldMasterId id="2147484124" r:id="rId8"/>
    <p:sldMasterId id="2147484150" r:id="rId9"/>
  </p:sldMasterIdLst>
  <p:notesMasterIdLst>
    <p:notesMasterId r:id="rId27"/>
  </p:notesMasterIdLst>
  <p:sldIdLst>
    <p:sldId id="10494" r:id="rId10"/>
    <p:sldId id="10539" r:id="rId11"/>
    <p:sldId id="1904" r:id="rId12"/>
    <p:sldId id="1670" r:id="rId13"/>
    <p:sldId id="10746" r:id="rId14"/>
    <p:sldId id="10561" r:id="rId15"/>
    <p:sldId id="10547" r:id="rId16"/>
    <p:sldId id="10739" r:id="rId17"/>
    <p:sldId id="10742" r:id="rId18"/>
    <p:sldId id="10740" r:id="rId19"/>
    <p:sldId id="10554" r:id="rId20"/>
    <p:sldId id="10747" r:id="rId21"/>
    <p:sldId id="10556" r:id="rId22"/>
    <p:sldId id="10558" r:id="rId23"/>
    <p:sldId id="10559" r:id="rId24"/>
    <p:sldId id="10703" r:id="rId25"/>
    <p:sldId id="10735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lherme Maia" initials="GM" lastIdx="2" clrIdx="0">
    <p:extLst>
      <p:ext uri="{19B8F6BF-5375-455C-9EA6-DF929625EA0E}">
        <p15:presenceInfo xmlns:p15="http://schemas.microsoft.com/office/powerpoint/2012/main" userId="Guilherme Ma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4AB7"/>
    <a:srgbClr val="415F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32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2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ilherme Maia" userId="fc649a62-ead7-4fa2-a922-e831243cf1e5" providerId="ADAL" clId="{E735FD2F-BDEC-4495-A2AE-16B48448AB9F}"/>
    <pc:docChg chg="undo custSel addSld delSld modSld sldOrd">
      <pc:chgData name="Guilherme Maia" userId="fc649a62-ead7-4fa2-a922-e831243cf1e5" providerId="ADAL" clId="{E735FD2F-BDEC-4495-A2AE-16B48448AB9F}" dt="2019-10-16T04:48:48.950" v="958"/>
      <pc:docMkLst>
        <pc:docMk/>
      </pc:docMkLst>
      <pc:sldChg chg="addSp delSp modSp add">
        <pc:chgData name="Guilherme Maia" userId="fc649a62-ead7-4fa2-a922-e831243cf1e5" providerId="ADAL" clId="{E735FD2F-BDEC-4495-A2AE-16B48448AB9F}" dt="2019-10-16T00:13:17.302" v="329" actId="2711"/>
        <pc:sldMkLst>
          <pc:docMk/>
          <pc:sldMk cId="1512936185" sldId="260"/>
        </pc:sldMkLst>
        <pc:spChg chg="add del">
          <ac:chgData name="Guilherme Maia" userId="fc649a62-ead7-4fa2-a922-e831243cf1e5" providerId="ADAL" clId="{E735FD2F-BDEC-4495-A2AE-16B48448AB9F}" dt="2019-10-16T00:12:42.603" v="272"/>
          <ac:spMkLst>
            <pc:docMk/>
            <pc:sldMk cId="1512936185" sldId="260"/>
            <ac:spMk id="2" creationId="{F6116137-3026-401B-862B-7B7994741CC7}"/>
          </ac:spMkLst>
        </pc:spChg>
        <pc:spChg chg="del">
          <ac:chgData name="Guilherme Maia" userId="fc649a62-ead7-4fa2-a922-e831243cf1e5" providerId="ADAL" clId="{E735FD2F-BDEC-4495-A2AE-16B48448AB9F}" dt="2019-10-16T00:13:09.187" v="327" actId="478"/>
          <ac:spMkLst>
            <pc:docMk/>
            <pc:sldMk cId="1512936185" sldId="260"/>
            <ac:spMk id="3" creationId="{00000000-0000-0000-0000-000000000000}"/>
          </ac:spMkLst>
        </pc:spChg>
        <pc:spChg chg="add del mod">
          <ac:chgData name="Guilherme Maia" userId="fc649a62-ead7-4fa2-a922-e831243cf1e5" providerId="ADAL" clId="{E735FD2F-BDEC-4495-A2AE-16B48448AB9F}" dt="2019-10-16T00:13:13.564" v="328" actId="478"/>
          <ac:spMkLst>
            <pc:docMk/>
            <pc:sldMk cId="1512936185" sldId="260"/>
            <ac:spMk id="5" creationId="{E3FDBB46-AA84-4300-BB32-42BC42074953}"/>
          </ac:spMkLst>
        </pc:spChg>
        <pc:spChg chg="mod">
          <ac:chgData name="Guilherme Maia" userId="fc649a62-ead7-4fa2-a922-e831243cf1e5" providerId="ADAL" clId="{E735FD2F-BDEC-4495-A2AE-16B48448AB9F}" dt="2019-10-16T00:13:17.302" v="329" actId="2711"/>
          <ac:spMkLst>
            <pc:docMk/>
            <pc:sldMk cId="1512936185" sldId="260"/>
            <ac:spMk id="6" creationId="{00000000-0000-0000-0000-000000000000}"/>
          </ac:spMkLst>
        </pc:spChg>
        <pc:spChg chg="add mod">
          <ac:chgData name="Guilherme Maia" userId="fc649a62-ead7-4fa2-a922-e831243cf1e5" providerId="ADAL" clId="{E735FD2F-BDEC-4495-A2AE-16B48448AB9F}" dt="2019-10-16T00:13:17.302" v="329" actId="2711"/>
          <ac:spMkLst>
            <pc:docMk/>
            <pc:sldMk cId="1512936185" sldId="260"/>
            <ac:spMk id="40" creationId="{460C7ECE-C12A-40D1-8FE9-645887E6180C}"/>
          </ac:spMkLst>
        </pc:spChg>
        <pc:grpChg chg="mod">
          <ac:chgData name="Guilherme Maia" userId="fc649a62-ead7-4fa2-a922-e831243cf1e5" providerId="ADAL" clId="{E735FD2F-BDEC-4495-A2AE-16B48448AB9F}" dt="2019-10-16T00:13:17.302" v="329" actId="2711"/>
          <ac:grpSpMkLst>
            <pc:docMk/>
            <pc:sldMk cId="1512936185" sldId="260"/>
            <ac:grpSpMk id="96" creationId="{00000000-0000-0000-0000-000000000000}"/>
          </ac:grpSpMkLst>
        </pc:grpChg>
      </pc:sldChg>
      <pc:sldChg chg="addSp delSp modSp add">
        <pc:chgData name="Guilherme Maia" userId="fc649a62-ead7-4fa2-a922-e831243cf1e5" providerId="ADAL" clId="{E735FD2F-BDEC-4495-A2AE-16B48448AB9F}" dt="2019-10-16T00:14:52.523" v="343" actId="20577"/>
        <pc:sldMkLst>
          <pc:docMk/>
          <pc:sldMk cId="2319709244" sldId="262"/>
        </pc:sldMkLst>
        <pc:spChg chg="del">
          <ac:chgData name="Guilherme Maia" userId="fc649a62-ead7-4fa2-a922-e831243cf1e5" providerId="ADAL" clId="{E735FD2F-BDEC-4495-A2AE-16B48448AB9F}" dt="2019-10-16T00:13:54.510" v="338" actId="478"/>
          <ac:spMkLst>
            <pc:docMk/>
            <pc:sldMk cId="2319709244" sldId="262"/>
            <ac:spMk id="4" creationId="{00000000-0000-0000-0000-000000000000}"/>
          </ac:spMkLst>
        </pc:spChg>
        <pc:spChg chg="add del mod">
          <ac:chgData name="Guilherme Maia" userId="fc649a62-ead7-4fa2-a922-e831243cf1e5" providerId="ADAL" clId="{E735FD2F-BDEC-4495-A2AE-16B48448AB9F}" dt="2019-10-16T00:13:55.649" v="339" actId="478"/>
          <ac:spMkLst>
            <pc:docMk/>
            <pc:sldMk cId="2319709244" sldId="262"/>
            <ac:spMk id="5" creationId="{6156B0CD-B0F8-4031-93BF-F4AEBABFF78E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8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9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4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6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30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31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36" creationId="{00000000-0000-0000-0000-000000000000}"/>
          </ac:spMkLst>
        </pc:spChg>
        <pc:spChg chg="add mod">
          <ac:chgData name="Guilherme Maia" userId="fc649a62-ead7-4fa2-a922-e831243cf1e5" providerId="ADAL" clId="{E735FD2F-BDEC-4495-A2AE-16B48448AB9F}" dt="2019-10-16T00:14:52.523" v="343" actId="20577"/>
          <ac:spMkLst>
            <pc:docMk/>
            <pc:sldMk cId="2319709244" sldId="262"/>
            <ac:spMk id="38" creationId="{FB711C03-4E3F-4C6A-8D08-A7D7EF1FCF89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92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11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13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14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15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19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20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21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4:01.901" v="341" actId="2711"/>
          <ac:spMkLst>
            <pc:docMk/>
            <pc:sldMk cId="2319709244" sldId="262"/>
            <ac:spMk id="122" creationId="{00000000-0000-0000-0000-000000000000}"/>
          </ac:spMkLst>
        </pc:spChg>
      </pc:sldChg>
      <pc:sldChg chg="addSp delSp modSp add">
        <pc:chgData name="Guilherme Maia" userId="fc649a62-ead7-4fa2-a922-e831243cf1e5" providerId="ADAL" clId="{E735FD2F-BDEC-4495-A2AE-16B48448AB9F}" dt="2019-10-16T00:09:30.375" v="208" actId="20577"/>
        <pc:sldMkLst>
          <pc:docMk/>
          <pc:sldMk cId="4056216665" sldId="263"/>
        </pc:sldMkLst>
        <pc:spChg chg="add del">
          <ac:chgData name="Guilherme Maia" userId="fc649a62-ead7-4fa2-a922-e831243cf1e5" providerId="ADAL" clId="{E735FD2F-BDEC-4495-A2AE-16B48448AB9F}" dt="2019-10-16T00:09:17.004" v="186"/>
          <ac:spMkLst>
            <pc:docMk/>
            <pc:sldMk cId="4056216665" sldId="263"/>
            <ac:spMk id="2" creationId="{F2FB120E-A332-4855-9CCA-2FB339357184}"/>
          </ac:spMkLst>
        </pc:spChg>
        <pc:spChg chg="mod">
          <ac:chgData name="Guilherme Maia" userId="fc649a62-ead7-4fa2-a922-e831243cf1e5" providerId="ADAL" clId="{E735FD2F-BDEC-4495-A2AE-16B48448AB9F}" dt="2019-10-16T00:08:09.774" v="21" actId="2711"/>
          <ac:spMkLst>
            <pc:docMk/>
            <pc:sldMk cId="4056216665" sldId="263"/>
            <ac:spMk id="11" creationId="{A22C560C-1A77-439D-AFD0-C0D881EBEAC4}"/>
          </ac:spMkLst>
        </pc:spChg>
        <pc:spChg chg="add mod">
          <ac:chgData name="Guilherme Maia" userId="fc649a62-ead7-4fa2-a922-e831243cf1e5" providerId="ADAL" clId="{E735FD2F-BDEC-4495-A2AE-16B48448AB9F}" dt="2019-10-16T00:09:30.375" v="208" actId="20577"/>
          <ac:spMkLst>
            <pc:docMk/>
            <pc:sldMk cId="4056216665" sldId="263"/>
            <ac:spMk id="12" creationId="{EA57BFB4-C1BD-4C74-8111-9A43051AB22F}"/>
          </ac:spMkLst>
        </pc:spChg>
        <pc:spChg chg="mod">
          <ac:chgData name="Guilherme Maia" userId="fc649a62-ead7-4fa2-a922-e831243cf1e5" providerId="ADAL" clId="{E735FD2F-BDEC-4495-A2AE-16B48448AB9F}" dt="2019-10-16T00:09:04.936" v="184" actId="14100"/>
          <ac:spMkLst>
            <pc:docMk/>
            <pc:sldMk cId="4056216665" sldId="263"/>
            <ac:spMk id="171" creationId="{00000000-0000-0000-0000-000000000000}"/>
          </ac:spMkLst>
        </pc:spChg>
        <pc:spChg chg="del mod">
          <ac:chgData name="Guilherme Maia" userId="fc649a62-ead7-4fa2-a922-e831243cf1e5" providerId="ADAL" clId="{E735FD2F-BDEC-4495-A2AE-16B48448AB9F}" dt="2019-10-16T00:09:22.231" v="187" actId="478"/>
          <ac:spMkLst>
            <pc:docMk/>
            <pc:sldMk cId="4056216665" sldId="263"/>
            <ac:spMk id="172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08:18.681" v="29" actId="20577"/>
          <ac:spMkLst>
            <pc:docMk/>
            <pc:sldMk cId="4056216665" sldId="263"/>
            <ac:spMk id="173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08:09.774" v="21" actId="2711"/>
          <ac:spMkLst>
            <pc:docMk/>
            <pc:sldMk cId="4056216665" sldId="263"/>
            <ac:spMk id="174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08:09.774" v="21" actId="2711"/>
          <ac:spMkLst>
            <pc:docMk/>
            <pc:sldMk cId="4056216665" sldId="263"/>
            <ac:spMk id="175" creationId="{00000000-0000-0000-0000-000000000000}"/>
          </ac:spMkLst>
        </pc:spChg>
      </pc:sldChg>
      <pc:sldChg chg="addSp delSp modSp add ord modTransition addAnim delAnim">
        <pc:chgData name="Guilherme Maia" userId="fc649a62-ead7-4fa2-a922-e831243cf1e5" providerId="ADAL" clId="{E735FD2F-BDEC-4495-A2AE-16B48448AB9F}" dt="2019-10-16T03:28:47.957" v="921" actId="1076"/>
        <pc:sldMkLst>
          <pc:docMk/>
          <pc:sldMk cId="0" sldId="270"/>
        </pc:sldMkLst>
        <pc:spChg chg="add del">
          <ac:chgData name="Guilherme Maia" userId="fc649a62-ead7-4fa2-a922-e831243cf1e5" providerId="ADAL" clId="{E735FD2F-BDEC-4495-A2AE-16B48448AB9F}" dt="2019-10-16T03:28:09.130" v="883"/>
          <ac:spMkLst>
            <pc:docMk/>
            <pc:sldMk cId="0" sldId="270"/>
            <ac:spMk id="2" creationId="{04E0B52C-CC57-4B67-939C-D1501DF10CDE}"/>
          </ac:spMkLst>
        </pc:spChg>
        <pc:spChg chg="del mod">
          <ac:chgData name="Guilherme Maia" userId="fc649a62-ead7-4fa2-a922-e831243cf1e5" providerId="ADAL" clId="{E735FD2F-BDEC-4495-A2AE-16B48448AB9F}" dt="2019-10-16T03:27:53.450" v="880" actId="478"/>
          <ac:spMkLst>
            <pc:docMk/>
            <pc:sldMk cId="0" sldId="270"/>
            <ac:spMk id="4" creationId="{0C3F7CAD-7AFB-4946-964D-741A9C6FBA3C}"/>
          </ac:spMkLst>
        </pc:spChg>
        <pc:spChg chg="del mod">
          <ac:chgData name="Guilherme Maia" userId="fc649a62-ead7-4fa2-a922-e831243cf1e5" providerId="ADAL" clId="{E735FD2F-BDEC-4495-A2AE-16B48448AB9F}" dt="2019-10-16T03:28:32.084" v="917" actId="478"/>
          <ac:spMkLst>
            <pc:docMk/>
            <pc:sldMk cId="0" sldId="270"/>
            <ac:spMk id="21" creationId="{27743BDE-9F49-40AC-A596-322941D848FF}"/>
          </ac:spMkLst>
        </pc:spChg>
        <pc:spChg chg="add mod">
          <ac:chgData name="Guilherme Maia" userId="fc649a62-ead7-4fa2-a922-e831243cf1e5" providerId="ADAL" clId="{E735FD2F-BDEC-4495-A2AE-16B48448AB9F}" dt="2019-10-16T03:28:27.616" v="915" actId="20577"/>
          <ac:spMkLst>
            <pc:docMk/>
            <pc:sldMk cId="0" sldId="270"/>
            <ac:spMk id="22" creationId="{A406E359-FE59-4E57-934A-89EC679A9140}"/>
          </ac:spMkLst>
        </pc:spChg>
        <pc:spChg chg="del">
          <ac:chgData name="Guilherme Maia" userId="fc649a62-ead7-4fa2-a922-e831243cf1e5" providerId="ADAL" clId="{E735FD2F-BDEC-4495-A2AE-16B48448AB9F}" dt="2019-10-16T03:27:37.966" v="869" actId="478"/>
          <ac:spMkLst>
            <pc:docMk/>
            <pc:sldMk cId="0" sldId="270"/>
            <ac:spMk id="25" creationId="{A202DE75-F18F-4878-AA18-8A39DA4B409E}"/>
          </ac:spMkLst>
        </pc:spChg>
        <pc:spChg chg="add del mod">
          <ac:chgData name="Guilherme Maia" userId="fc649a62-ead7-4fa2-a922-e831243cf1e5" providerId="ADAL" clId="{E735FD2F-BDEC-4495-A2AE-16B48448AB9F}" dt="2019-10-16T03:28:40.005" v="918" actId="1076"/>
          <ac:spMkLst>
            <pc:docMk/>
            <pc:sldMk cId="0" sldId="270"/>
            <ac:spMk id="234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3:28:45.891" v="920" actId="1076"/>
          <ac:spMkLst>
            <pc:docMk/>
            <pc:sldMk cId="0" sldId="270"/>
            <ac:spMk id="237" creationId="{00000000-0000-0000-0000-000000000000}"/>
          </ac:spMkLst>
        </pc:spChg>
        <pc:spChg chg="del mod">
          <ac:chgData name="Guilherme Maia" userId="fc649a62-ead7-4fa2-a922-e831243cf1e5" providerId="ADAL" clId="{E735FD2F-BDEC-4495-A2AE-16B48448AB9F}" dt="2019-10-16T03:27:41.069" v="872" actId="478"/>
          <ac:spMkLst>
            <pc:docMk/>
            <pc:sldMk cId="0" sldId="270"/>
            <ac:spMk id="241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3:28:42.851" v="919" actId="1076"/>
          <ac:spMkLst>
            <pc:docMk/>
            <pc:sldMk cId="0" sldId="270"/>
            <ac:spMk id="243" creationId="{00000000-0000-0000-0000-000000000000}"/>
          </ac:spMkLst>
        </pc:spChg>
        <pc:spChg chg="del">
          <ac:chgData name="Guilherme Maia" userId="fc649a62-ead7-4fa2-a922-e831243cf1e5" providerId="ADAL" clId="{E735FD2F-BDEC-4495-A2AE-16B48448AB9F}" dt="2019-10-16T03:27:55.292" v="881" actId="478"/>
          <ac:spMkLst>
            <pc:docMk/>
            <pc:sldMk cId="0" sldId="270"/>
            <ac:spMk id="244" creationId="{00000000-0000-0000-0000-000000000000}"/>
          </ac:spMkLst>
        </pc:spChg>
        <pc:cxnChg chg="del">
          <ac:chgData name="Guilherme Maia" userId="fc649a62-ead7-4fa2-a922-e831243cf1e5" providerId="ADAL" clId="{E735FD2F-BDEC-4495-A2AE-16B48448AB9F}" dt="2019-10-16T03:27:39.050" v="870" actId="478"/>
          <ac:cxnSpMkLst>
            <pc:docMk/>
            <pc:sldMk cId="0" sldId="270"/>
            <ac:cxnSpMk id="238" creationId="{00000000-0000-0000-0000-000000000000}"/>
          </ac:cxnSpMkLst>
        </pc:cxnChg>
        <pc:cxnChg chg="mod">
          <ac:chgData name="Guilherme Maia" userId="fc649a62-ead7-4fa2-a922-e831243cf1e5" providerId="ADAL" clId="{E735FD2F-BDEC-4495-A2AE-16B48448AB9F}" dt="2019-10-16T03:28:47.957" v="921" actId="1076"/>
          <ac:cxnSpMkLst>
            <pc:docMk/>
            <pc:sldMk cId="0" sldId="270"/>
            <ac:cxnSpMk id="240" creationId="{00000000-0000-0000-0000-000000000000}"/>
          </ac:cxnSpMkLst>
        </pc:cxnChg>
      </pc:sldChg>
      <pc:sldChg chg="modTransition">
        <pc:chgData name="Guilherme Maia" userId="fc649a62-ead7-4fa2-a922-e831243cf1e5" providerId="ADAL" clId="{E735FD2F-BDEC-4495-A2AE-16B48448AB9F}" dt="2019-10-15T23:58:36.337" v="0"/>
        <pc:sldMkLst>
          <pc:docMk/>
          <pc:sldMk cId="2901408998" sldId="284"/>
        </pc:sldMkLst>
      </pc:sldChg>
      <pc:sldChg chg="modSp">
        <pc:chgData name="Guilherme Maia" userId="fc649a62-ead7-4fa2-a922-e831243cf1e5" providerId="ADAL" clId="{E735FD2F-BDEC-4495-A2AE-16B48448AB9F}" dt="2019-10-16T03:35:27.931" v="957" actId="404"/>
        <pc:sldMkLst>
          <pc:docMk/>
          <pc:sldMk cId="3303116671" sldId="316"/>
        </pc:sldMkLst>
        <pc:spChg chg="mod">
          <ac:chgData name="Guilherme Maia" userId="fc649a62-ead7-4fa2-a922-e831243cf1e5" providerId="ADAL" clId="{E735FD2F-BDEC-4495-A2AE-16B48448AB9F}" dt="2019-10-16T03:34:15.285" v="953" actId="20577"/>
          <ac:spMkLst>
            <pc:docMk/>
            <pc:sldMk cId="3303116671" sldId="316"/>
            <ac:spMk id="2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3:35:27.931" v="957" actId="404"/>
          <ac:spMkLst>
            <pc:docMk/>
            <pc:sldMk cId="3303116671" sldId="316"/>
            <ac:spMk id="3" creationId="{578BB5F3-C318-4719-B76F-AD28422937EC}"/>
          </ac:spMkLst>
        </pc:spChg>
      </pc:sldChg>
      <pc:sldChg chg="modTransition">
        <pc:chgData name="Guilherme Maia" userId="fc649a62-ead7-4fa2-a922-e831243cf1e5" providerId="ADAL" clId="{E735FD2F-BDEC-4495-A2AE-16B48448AB9F}" dt="2019-10-16T02:20:52.278" v="672"/>
        <pc:sldMkLst>
          <pc:docMk/>
          <pc:sldMk cId="1870651983" sldId="318"/>
        </pc:sldMkLst>
      </pc:sldChg>
      <pc:sldChg chg="addSp delSp modSp add ord modTransition">
        <pc:chgData name="Guilherme Maia" userId="fc649a62-ead7-4fa2-a922-e831243cf1e5" providerId="ADAL" clId="{E735FD2F-BDEC-4495-A2AE-16B48448AB9F}" dt="2019-10-16T04:48:48.950" v="958"/>
        <pc:sldMkLst>
          <pc:docMk/>
          <pc:sldMk cId="715999180" sldId="330"/>
        </pc:sldMkLst>
        <pc:spChg chg="mod">
          <ac:chgData name="Guilherme Maia" userId="fc649a62-ead7-4fa2-a922-e831243cf1e5" providerId="ADAL" clId="{E735FD2F-BDEC-4495-A2AE-16B48448AB9F}" dt="2019-10-16T00:11:25.130" v="268" actId="1076"/>
          <ac:spMkLst>
            <pc:docMk/>
            <pc:sldMk cId="715999180" sldId="330"/>
            <ac:spMk id="2" creationId="{00000000-0000-0000-0000-000000000000}"/>
          </ac:spMkLst>
        </pc:spChg>
        <pc:spChg chg="add del mod">
          <ac:chgData name="Guilherme Maia" userId="fc649a62-ead7-4fa2-a922-e831243cf1e5" providerId="ADAL" clId="{E735FD2F-BDEC-4495-A2AE-16B48448AB9F}" dt="2019-10-16T00:10:23.096" v="227" actId="478"/>
          <ac:spMkLst>
            <pc:docMk/>
            <pc:sldMk cId="715999180" sldId="330"/>
            <ac:spMk id="3" creationId="{70EBB51B-EFA6-45C6-B63A-7B73017263AE}"/>
          </ac:spMkLst>
        </pc:spChg>
        <pc:spChg chg="mod">
          <ac:chgData name="Guilherme Maia" userId="fc649a62-ead7-4fa2-a922-e831243cf1e5" providerId="ADAL" clId="{E735FD2F-BDEC-4495-A2AE-16B48448AB9F}" dt="2019-10-16T00:10:56.082" v="236" actId="2711"/>
          <ac:spMkLst>
            <pc:docMk/>
            <pc:sldMk cId="715999180" sldId="330"/>
            <ac:spMk id="7" creationId="{6C76C095-E4AC-47D5-8CDB-BC25E4B2519E}"/>
          </ac:spMkLst>
        </pc:spChg>
        <pc:picChg chg="mod">
          <ac:chgData name="Guilherme Maia" userId="fc649a62-ead7-4fa2-a922-e831243cf1e5" providerId="ADAL" clId="{E735FD2F-BDEC-4495-A2AE-16B48448AB9F}" dt="2019-10-16T00:11:27.838" v="269" actId="1076"/>
          <ac:picMkLst>
            <pc:docMk/>
            <pc:sldMk cId="715999180" sldId="330"/>
            <ac:picMk id="4" creationId="{636814F6-E95D-46B4-88C5-435493B88DFF}"/>
          </ac:picMkLst>
        </pc:picChg>
      </pc:sldChg>
      <pc:sldChg chg="modSp">
        <pc:chgData name="Guilherme Maia" userId="fc649a62-ead7-4fa2-a922-e831243cf1e5" providerId="ADAL" clId="{E735FD2F-BDEC-4495-A2AE-16B48448AB9F}" dt="2019-10-16T03:24:34.984" v="859" actId="20577"/>
        <pc:sldMkLst>
          <pc:docMk/>
          <pc:sldMk cId="176639409" sldId="332"/>
        </pc:sldMkLst>
        <pc:spChg chg="mod">
          <ac:chgData name="Guilherme Maia" userId="fc649a62-ead7-4fa2-a922-e831243cf1e5" providerId="ADAL" clId="{E735FD2F-BDEC-4495-A2AE-16B48448AB9F}" dt="2019-10-16T03:24:34.984" v="859" actId="20577"/>
          <ac:spMkLst>
            <pc:docMk/>
            <pc:sldMk cId="176639409" sldId="332"/>
            <ac:spMk id="2" creationId="{00000000-0000-0000-0000-000000000000}"/>
          </ac:spMkLst>
        </pc:spChg>
      </pc:sldChg>
      <pc:sldChg chg="addSp delSp modSp add">
        <pc:chgData name="Guilherme Maia" userId="fc649a62-ead7-4fa2-a922-e831243cf1e5" providerId="ADAL" clId="{E735FD2F-BDEC-4495-A2AE-16B48448AB9F}" dt="2019-10-16T00:15:51.501" v="366" actId="2711"/>
        <pc:sldMkLst>
          <pc:docMk/>
          <pc:sldMk cId="3465474124" sldId="345"/>
        </pc:sldMkLst>
        <pc:spChg chg="mod">
          <ac:chgData name="Guilherme Maia" userId="fc649a62-ead7-4fa2-a922-e831243cf1e5" providerId="ADAL" clId="{E735FD2F-BDEC-4495-A2AE-16B48448AB9F}" dt="2019-10-16T00:15:51.501" v="366" actId="2711"/>
          <ac:spMkLst>
            <pc:docMk/>
            <pc:sldMk cId="3465474124" sldId="345"/>
            <ac:spMk id="2" creationId="{D30CD716-F27B-452B-9A72-D0B997513CAB}"/>
          </ac:spMkLst>
        </pc:spChg>
        <pc:spChg chg="del mod">
          <ac:chgData name="Guilherme Maia" userId="fc649a62-ead7-4fa2-a922-e831243cf1e5" providerId="ADAL" clId="{E735FD2F-BDEC-4495-A2AE-16B48448AB9F}" dt="2019-10-16T00:15:40.368" v="362" actId="478"/>
          <ac:spMkLst>
            <pc:docMk/>
            <pc:sldMk cId="3465474124" sldId="345"/>
            <ac:spMk id="3" creationId="{8D5F0A98-146C-47D2-B8ED-845CFFA0C40E}"/>
          </ac:spMkLst>
        </pc:spChg>
        <pc:spChg chg="add del mod">
          <ac:chgData name="Guilherme Maia" userId="fc649a62-ead7-4fa2-a922-e831243cf1e5" providerId="ADAL" clId="{E735FD2F-BDEC-4495-A2AE-16B48448AB9F}" dt="2019-10-16T00:15:43.216" v="364" actId="478"/>
          <ac:spMkLst>
            <pc:docMk/>
            <pc:sldMk cId="3465474124" sldId="345"/>
            <ac:spMk id="5" creationId="{1908EFC1-D613-4026-A14D-C6D40101BB17}"/>
          </ac:spMkLst>
        </pc:spChg>
        <pc:spChg chg="mod">
          <ac:chgData name="Guilherme Maia" userId="fc649a62-ead7-4fa2-a922-e831243cf1e5" providerId="ADAL" clId="{E735FD2F-BDEC-4495-A2AE-16B48448AB9F}" dt="2019-10-16T00:15:51.501" v="366" actId="2711"/>
          <ac:spMkLst>
            <pc:docMk/>
            <pc:sldMk cId="3465474124" sldId="345"/>
            <ac:spMk id="7" creationId="{E0933091-CED4-4C71-8FA8-48481A0BEB01}"/>
          </ac:spMkLst>
        </pc:spChg>
        <pc:spChg chg="add mod">
          <ac:chgData name="Guilherme Maia" userId="fc649a62-ead7-4fa2-a922-e831243cf1e5" providerId="ADAL" clId="{E735FD2F-BDEC-4495-A2AE-16B48448AB9F}" dt="2019-10-16T00:15:51.501" v="366" actId="2711"/>
          <ac:spMkLst>
            <pc:docMk/>
            <pc:sldMk cId="3465474124" sldId="345"/>
            <ac:spMk id="8" creationId="{8F89C055-5456-478D-9B42-72E5E749A8A2}"/>
          </ac:spMkLst>
        </pc:spChg>
      </pc:sldChg>
      <pc:sldChg chg="addSp delSp modSp add">
        <pc:chgData name="Guilherme Maia" userId="fc649a62-ead7-4fa2-a922-e831243cf1e5" providerId="ADAL" clId="{E735FD2F-BDEC-4495-A2AE-16B48448AB9F}" dt="2019-10-16T00:15:18.367" v="354" actId="404"/>
        <pc:sldMkLst>
          <pc:docMk/>
          <pc:sldMk cId="306543452" sldId="353"/>
        </pc:sldMkLst>
        <pc:spChg chg="del mod">
          <ac:chgData name="Guilherme Maia" userId="fc649a62-ead7-4fa2-a922-e831243cf1e5" providerId="ADAL" clId="{E735FD2F-BDEC-4495-A2AE-16B48448AB9F}" dt="2019-10-16T00:15:03.332" v="347" actId="478"/>
          <ac:spMkLst>
            <pc:docMk/>
            <pc:sldMk cId="306543452" sldId="353"/>
            <ac:spMk id="5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15:18.367" v="354" actId="404"/>
          <ac:spMkLst>
            <pc:docMk/>
            <pc:sldMk cId="306543452" sldId="353"/>
            <ac:spMk id="6" creationId="{00000000-0000-0000-0000-000000000000}"/>
          </ac:spMkLst>
        </pc:spChg>
        <pc:spChg chg="add mod">
          <ac:chgData name="Guilherme Maia" userId="fc649a62-ead7-4fa2-a922-e831243cf1e5" providerId="ADAL" clId="{E735FD2F-BDEC-4495-A2AE-16B48448AB9F}" dt="2019-10-16T00:15:08.422" v="348" actId="2711"/>
          <ac:spMkLst>
            <pc:docMk/>
            <pc:sldMk cId="306543452" sldId="353"/>
            <ac:spMk id="7" creationId="{B1657D59-BBC2-443B-ABA5-951FC9186662}"/>
          </ac:spMkLst>
        </pc:spChg>
        <pc:picChg chg="mod">
          <ac:chgData name="Guilherme Maia" userId="fc649a62-ead7-4fa2-a922-e831243cf1e5" providerId="ADAL" clId="{E735FD2F-BDEC-4495-A2AE-16B48448AB9F}" dt="2019-10-16T00:15:15.782" v="353" actId="1076"/>
          <ac:picMkLst>
            <pc:docMk/>
            <pc:sldMk cId="306543452" sldId="353"/>
            <ac:picMk id="4" creationId="{00000000-0000-0000-0000-000000000000}"/>
          </ac:picMkLst>
        </pc:picChg>
      </pc:sldChg>
      <pc:sldChg chg="addSp delSp modSp add">
        <pc:chgData name="Guilherme Maia" userId="fc649a62-ead7-4fa2-a922-e831243cf1e5" providerId="ADAL" clId="{E735FD2F-BDEC-4495-A2AE-16B48448AB9F}" dt="2019-10-16T00:32:06.582" v="485" actId="1076"/>
        <pc:sldMkLst>
          <pc:docMk/>
          <pc:sldMk cId="3317877341" sldId="380"/>
        </pc:sldMkLst>
        <pc:spChg chg="add del">
          <ac:chgData name="Guilherme Maia" userId="fc649a62-ead7-4fa2-a922-e831243cf1e5" providerId="ADAL" clId="{E735FD2F-BDEC-4495-A2AE-16B48448AB9F}" dt="2019-10-16T00:30:52.493" v="442"/>
          <ac:spMkLst>
            <pc:docMk/>
            <pc:sldMk cId="3317877341" sldId="380"/>
            <ac:spMk id="2" creationId="{2AE5CBEC-7CC6-4A0F-A572-A3AA27162A8B}"/>
          </ac:spMkLst>
        </pc:spChg>
        <pc:spChg chg="del">
          <ac:chgData name="Guilherme Maia" userId="fc649a62-ead7-4fa2-a922-e831243cf1e5" providerId="ADAL" clId="{E735FD2F-BDEC-4495-A2AE-16B48448AB9F}" dt="2019-10-16T00:31:22.426" v="445" actId="478"/>
          <ac:spMkLst>
            <pc:docMk/>
            <pc:sldMk cId="3317877341" sldId="380"/>
            <ac:spMk id="3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31:55.696" v="483" actId="207"/>
          <ac:spMkLst>
            <pc:docMk/>
            <pc:sldMk cId="3317877341" sldId="380"/>
            <ac:spMk id="5" creationId="{00000000-0000-0000-0000-000000000000}"/>
          </ac:spMkLst>
        </pc:spChg>
        <pc:spChg chg="add del mod">
          <ac:chgData name="Guilherme Maia" userId="fc649a62-ead7-4fa2-a922-e831243cf1e5" providerId="ADAL" clId="{E735FD2F-BDEC-4495-A2AE-16B48448AB9F}" dt="2019-10-16T00:31:23.843" v="446" actId="478"/>
          <ac:spMkLst>
            <pc:docMk/>
            <pc:sldMk cId="3317877341" sldId="380"/>
            <ac:spMk id="7" creationId="{4D0DD1A4-C902-421F-AF3C-09F3AE751BA6}"/>
          </ac:spMkLst>
        </pc:spChg>
        <pc:spChg chg="mod">
          <ac:chgData name="Guilherme Maia" userId="fc649a62-ead7-4fa2-a922-e831243cf1e5" providerId="ADAL" clId="{E735FD2F-BDEC-4495-A2AE-16B48448AB9F}" dt="2019-10-16T00:31:50.789" v="481" actId="207"/>
          <ac:spMkLst>
            <pc:docMk/>
            <pc:sldMk cId="3317877341" sldId="380"/>
            <ac:spMk id="8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31:52.937" v="482" actId="207"/>
          <ac:spMkLst>
            <pc:docMk/>
            <pc:sldMk cId="3317877341" sldId="380"/>
            <ac:spMk id="9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0:31:42.268" v="478" actId="2711"/>
          <ac:spMkLst>
            <pc:docMk/>
            <pc:sldMk cId="3317877341" sldId="380"/>
            <ac:spMk id="10" creationId="{00000000-0000-0000-0000-000000000000}"/>
          </ac:spMkLst>
        </pc:spChg>
        <pc:spChg chg="add del">
          <ac:chgData name="Guilherme Maia" userId="fc649a62-ead7-4fa2-a922-e831243cf1e5" providerId="ADAL" clId="{E735FD2F-BDEC-4495-A2AE-16B48448AB9F}" dt="2019-10-16T00:31:19.883" v="444"/>
          <ac:spMkLst>
            <pc:docMk/>
            <pc:sldMk cId="3317877341" sldId="380"/>
            <ac:spMk id="11" creationId="{8ADD2450-D3BD-4308-9483-BD7DB7827635}"/>
          </ac:spMkLst>
        </pc:spChg>
        <pc:spChg chg="add del">
          <ac:chgData name="Guilherme Maia" userId="fc649a62-ead7-4fa2-a922-e831243cf1e5" providerId="ADAL" clId="{E735FD2F-BDEC-4495-A2AE-16B48448AB9F}" dt="2019-10-16T00:31:25.927" v="448"/>
          <ac:spMkLst>
            <pc:docMk/>
            <pc:sldMk cId="3317877341" sldId="380"/>
            <ac:spMk id="12" creationId="{90BB4A76-AF70-44C6-BC6A-91FA77BAA034}"/>
          </ac:spMkLst>
        </pc:spChg>
        <pc:spChg chg="add mod">
          <ac:chgData name="Guilherme Maia" userId="fc649a62-ead7-4fa2-a922-e831243cf1e5" providerId="ADAL" clId="{E735FD2F-BDEC-4495-A2AE-16B48448AB9F}" dt="2019-10-16T00:31:42.268" v="478" actId="2711"/>
          <ac:spMkLst>
            <pc:docMk/>
            <pc:sldMk cId="3317877341" sldId="380"/>
            <ac:spMk id="13" creationId="{EBF25A5C-F526-4030-BBF7-4A7F2C0F102A}"/>
          </ac:spMkLst>
        </pc:spChg>
        <pc:picChg chg="mod">
          <ac:chgData name="Guilherme Maia" userId="fc649a62-ead7-4fa2-a922-e831243cf1e5" providerId="ADAL" clId="{E735FD2F-BDEC-4495-A2AE-16B48448AB9F}" dt="2019-10-16T00:32:06.582" v="485" actId="1076"/>
          <ac:picMkLst>
            <pc:docMk/>
            <pc:sldMk cId="3317877341" sldId="380"/>
            <ac:picMk id="4" creationId="{00000000-0000-0000-0000-000000000000}"/>
          </ac:picMkLst>
        </pc:picChg>
      </pc:sldChg>
      <pc:sldChg chg="addSp delSp modSp add">
        <pc:chgData name="Guilherme Maia" userId="fc649a62-ead7-4fa2-a922-e831243cf1e5" providerId="ADAL" clId="{E735FD2F-BDEC-4495-A2AE-16B48448AB9F}" dt="2019-10-16T01:15:54.954" v="640" actId="478"/>
        <pc:sldMkLst>
          <pc:docMk/>
          <pc:sldMk cId="1176964639" sldId="381"/>
        </pc:sldMkLst>
        <pc:spChg chg="mod">
          <ac:chgData name="Guilherme Maia" userId="fc649a62-ead7-4fa2-a922-e831243cf1e5" providerId="ADAL" clId="{E735FD2F-BDEC-4495-A2AE-16B48448AB9F}" dt="2019-10-16T01:15:47.728" v="636" actId="27636"/>
          <ac:spMkLst>
            <pc:docMk/>
            <pc:sldMk cId="1176964639" sldId="381"/>
            <ac:spMk id="2" creationId="{00000000-0000-0000-0000-000000000000}"/>
          </ac:spMkLst>
        </pc:spChg>
        <pc:spChg chg="del mod">
          <ac:chgData name="Guilherme Maia" userId="fc649a62-ead7-4fa2-a922-e831243cf1e5" providerId="ADAL" clId="{E735FD2F-BDEC-4495-A2AE-16B48448AB9F}" dt="2019-10-16T01:15:52.122" v="638" actId="478"/>
          <ac:spMkLst>
            <pc:docMk/>
            <pc:sldMk cId="1176964639" sldId="381"/>
            <ac:spMk id="3" creationId="{00000000-0000-0000-0000-000000000000}"/>
          </ac:spMkLst>
        </pc:spChg>
        <pc:spChg chg="add mod">
          <ac:chgData name="Guilherme Maia" userId="fc649a62-ead7-4fa2-a922-e831243cf1e5" providerId="ADAL" clId="{E735FD2F-BDEC-4495-A2AE-16B48448AB9F}" dt="2019-10-16T01:15:34.248" v="633" actId="20577"/>
          <ac:spMkLst>
            <pc:docMk/>
            <pc:sldMk cId="1176964639" sldId="381"/>
            <ac:spMk id="6" creationId="{DD14B215-5C8F-4D58-B779-9559FD58D8D2}"/>
          </ac:spMkLst>
        </pc:spChg>
        <pc:spChg chg="add del mod">
          <ac:chgData name="Guilherme Maia" userId="fc649a62-ead7-4fa2-a922-e831243cf1e5" providerId="ADAL" clId="{E735FD2F-BDEC-4495-A2AE-16B48448AB9F}" dt="2019-10-16T01:15:54.954" v="640" actId="478"/>
          <ac:spMkLst>
            <pc:docMk/>
            <pc:sldMk cId="1176964639" sldId="381"/>
            <ac:spMk id="8" creationId="{25515183-9BE6-488C-BDB1-E404A52E5FE3}"/>
          </ac:spMkLst>
        </pc:spChg>
      </pc:sldChg>
      <pc:sldChg chg="addSp delSp modSp add">
        <pc:chgData name="Guilherme Maia" userId="fc649a62-ead7-4fa2-a922-e831243cf1e5" providerId="ADAL" clId="{E735FD2F-BDEC-4495-A2AE-16B48448AB9F}" dt="2019-10-16T01:16:29.052" v="670" actId="20577"/>
        <pc:sldMkLst>
          <pc:docMk/>
          <pc:sldMk cId="2516319929" sldId="383"/>
        </pc:sldMkLst>
        <pc:spChg chg="del mod">
          <ac:chgData name="Guilherme Maia" userId="fc649a62-ead7-4fa2-a922-e831243cf1e5" providerId="ADAL" clId="{E735FD2F-BDEC-4495-A2AE-16B48448AB9F}" dt="2019-10-16T01:16:12.788" v="652" actId="478"/>
          <ac:spMkLst>
            <pc:docMk/>
            <pc:sldMk cId="2516319929" sldId="383"/>
            <ac:spMk id="3" creationId="{00000000-0000-0000-0000-000000000000}"/>
          </ac:spMkLst>
        </pc:spChg>
        <pc:spChg chg="add mod">
          <ac:chgData name="Guilherme Maia" userId="fc649a62-ead7-4fa2-a922-e831243cf1e5" providerId="ADAL" clId="{E735FD2F-BDEC-4495-A2AE-16B48448AB9F}" dt="2019-10-16T01:16:29.052" v="670" actId="20577"/>
          <ac:spMkLst>
            <pc:docMk/>
            <pc:sldMk cId="2516319929" sldId="383"/>
            <ac:spMk id="4" creationId="{D9F28073-99F5-4E35-ABA8-72EBD9E62B67}"/>
          </ac:spMkLst>
        </pc:spChg>
        <pc:spChg chg="add del mod">
          <ac:chgData name="Guilherme Maia" userId="fc649a62-ead7-4fa2-a922-e831243cf1e5" providerId="ADAL" clId="{E735FD2F-BDEC-4495-A2AE-16B48448AB9F}" dt="2019-10-16T01:16:16.177" v="654" actId="478"/>
          <ac:spMkLst>
            <pc:docMk/>
            <pc:sldMk cId="2516319929" sldId="383"/>
            <ac:spMk id="6" creationId="{6A257D84-C563-4EA5-BDC9-A8E38E50537F}"/>
          </ac:spMkLst>
        </pc:spChg>
      </pc:sldChg>
      <pc:sldChg chg="add del">
        <pc:chgData name="Guilherme Maia" userId="fc649a62-ead7-4fa2-a922-e831243cf1e5" providerId="ADAL" clId="{E735FD2F-BDEC-4495-A2AE-16B48448AB9F}" dt="2019-10-16T00:32:13.653" v="486" actId="47"/>
        <pc:sldMkLst>
          <pc:docMk/>
          <pc:sldMk cId="4261520481" sldId="384"/>
        </pc:sldMkLst>
      </pc:sldChg>
      <pc:sldChg chg="addSp delSp modSp add">
        <pc:chgData name="Guilherme Maia" userId="fc649a62-ead7-4fa2-a922-e831243cf1e5" providerId="ADAL" clId="{E735FD2F-BDEC-4495-A2AE-16B48448AB9F}" dt="2019-10-16T00:16:39.001" v="436" actId="207"/>
        <pc:sldMkLst>
          <pc:docMk/>
          <pc:sldMk cId="2185642509" sldId="406"/>
        </pc:sldMkLst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2" creationId="{D30CD716-F27B-452B-9A72-D0B997513CAB}"/>
          </ac:spMkLst>
        </pc:spChg>
        <pc:spChg chg="del">
          <ac:chgData name="Guilherme Maia" userId="fc649a62-ead7-4fa2-a922-e831243cf1e5" providerId="ADAL" clId="{E735FD2F-BDEC-4495-A2AE-16B48448AB9F}" dt="2019-10-16T00:16:08.823" v="370" actId="478"/>
          <ac:spMkLst>
            <pc:docMk/>
            <pc:sldMk cId="2185642509" sldId="406"/>
            <ac:spMk id="3" creationId="{8D5F0A98-146C-47D2-B8ED-845CFFA0C40E}"/>
          </ac:spMkLst>
        </pc:spChg>
        <pc:spChg chg="add del mod">
          <ac:chgData name="Guilherme Maia" userId="fc649a62-ead7-4fa2-a922-e831243cf1e5" providerId="ADAL" clId="{E735FD2F-BDEC-4495-A2AE-16B48448AB9F}" dt="2019-10-16T00:16:11.167" v="372" actId="478"/>
          <ac:spMkLst>
            <pc:docMk/>
            <pc:sldMk cId="2185642509" sldId="406"/>
            <ac:spMk id="5" creationId="{DA8AD35E-1075-4ECD-A33B-D2070E58906F}"/>
          </ac:spMkLst>
        </pc:spChg>
        <pc:spChg chg="add 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41" creationId="{23BB5465-DE00-44CA-988F-EA90F1B6837A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46" creationId="{4182A076-7B83-4651-A1D8-89671860C587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47" creationId="{FE7E78B9-E572-47F5-A0CF-56804056E7E8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48" creationId="{03BDDEAA-07A6-4397-953B-31DD0D046F3A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49" creationId="{F7E47F5D-63B1-42CB-8CCD-87E43C3E8A11}"/>
          </ac:spMkLst>
        </pc:spChg>
        <pc:spChg chg="mod">
          <ac:chgData name="Guilherme Maia" userId="fc649a62-ead7-4fa2-a922-e831243cf1e5" providerId="ADAL" clId="{E735FD2F-BDEC-4495-A2AE-16B48448AB9F}" dt="2019-10-16T00:16:34.500" v="434" actId="207"/>
          <ac:spMkLst>
            <pc:docMk/>
            <pc:sldMk cId="2185642509" sldId="406"/>
            <ac:spMk id="50" creationId="{F43A51EF-BB1F-437E-9F05-DF047643AA9A}"/>
          </ac:spMkLst>
        </pc:spChg>
        <pc:spChg chg="mod">
          <ac:chgData name="Guilherme Maia" userId="fc649a62-ead7-4fa2-a922-e831243cf1e5" providerId="ADAL" clId="{E735FD2F-BDEC-4495-A2AE-16B48448AB9F}" dt="2019-10-16T00:16:36.416" v="435" actId="207"/>
          <ac:spMkLst>
            <pc:docMk/>
            <pc:sldMk cId="2185642509" sldId="406"/>
            <ac:spMk id="51" creationId="{89A6C38C-B27F-4F00-88A7-9C27EEBA9143}"/>
          </ac:spMkLst>
        </pc:spChg>
        <pc:spChg chg="mod">
          <ac:chgData name="Guilherme Maia" userId="fc649a62-ead7-4fa2-a922-e831243cf1e5" providerId="ADAL" clId="{E735FD2F-BDEC-4495-A2AE-16B48448AB9F}" dt="2019-10-16T00:16:39.001" v="436" actId="207"/>
          <ac:spMkLst>
            <pc:docMk/>
            <pc:sldMk cId="2185642509" sldId="406"/>
            <ac:spMk id="52" creationId="{D0C27634-14BE-4FBE-A623-19438FF28575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53" creationId="{A53151D9-7DD0-4B22-8E11-4E22B87FFD8C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54" creationId="{5EE4AD28-16E4-4594-9813-0510A151CDBC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60" creationId="{5E658BC5-50FF-4AB1-9172-37F90B2A3426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61" creationId="{709F9018-2454-4265-BDF7-D5B5519FF993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70" creationId="{047F4CF7-742D-446A-882E-8690841A5FD4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76" creationId="{5236380F-4F16-4875-AEC0-9D13C2020912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77" creationId="{20352198-D83E-4865-90F2-0728705997A4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78" creationId="{F0AD4285-F8F1-4386-9A8D-49024262E2DB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79" creationId="{7C19A5CC-C21D-4C4F-9396-F3567359178C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80" creationId="{55CBE8E2-A124-4635-9162-7A5CFC65A89D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81" creationId="{8E1CD9C3-7F40-44EF-960D-7AEF106EB548}"/>
          </ac:spMkLst>
        </pc:spChg>
        <pc:spChg chg="mod">
          <ac:chgData name="Guilherme Maia" userId="fc649a62-ead7-4fa2-a922-e831243cf1e5" providerId="ADAL" clId="{E735FD2F-BDEC-4495-A2AE-16B48448AB9F}" dt="2019-10-16T00:16:31.976" v="433" actId="2711"/>
          <ac:spMkLst>
            <pc:docMk/>
            <pc:sldMk cId="2185642509" sldId="406"/>
            <ac:spMk id="82" creationId="{2435E283-B044-4D7E-B99C-D7154085A449}"/>
          </ac:spMkLst>
        </pc:spChg>
        <pc:grpChg chg="mod">
          <ac:chgData name="Guilherme Maia" userId="fc649a62-ead7-4fa2-a922-e831243cf1e5" providerId="ADAL" clId="{E735FD2F-BDEC-4495-A2AE-16B48448AB9F}" dt="2019-10-16T00:16:31.976" v="433" actId="2711"/>
          <ac:grpSpMkLst>
            <pc:docMk/>
            <pc:sldMk cId="2185642509" sldId="406"/>
            <ac:grpSpMk id="56" creationId="{380AA1F4-C9D2-4434-8E47-550B2F8B3AAD}"/>
          </ac:grpSpMkLst>
        </pc:grpChg>
        <pc:grpChg chg="mod">
          <ac:chgData name="Guilherme Maia" userId="fc649a62-ead7-4fa2-a922-e831243cf1e5" providerId="ADAL" clId="{E735FD2F-BDEC-4495-A2AE-16B48448AB9F}" dt="2019-10-16T00:16:31.976" v="433" actId="2711"/>
          <ac:grpSpMkLst>
            <pc:docMk/>
            <pc:sldMk cId="2185642509" sldId="406"/>
            <ac:grpSpMk id="62" creationId="{BDBE8E62-3E7C-46CB-8ED3-83BDF9948D23}"/>
          </ac:grpSpMkLst>
        </pc:grpChg>
        <pc:grpChg chg="mod">
          <ac:chgData name="Guilherme Maia" userId="fc649a62-ead7-4fa2-a922-e831243cf1e5" providerId="ADAL" clId="{E735FD2F-BDEC-4495-A2AE-16B48448AB9F}" dt="2019-10-16T00:16:31.976" v="433" actId="2711"/>
          <ac:grpSpMkLst>
            <pc:docMk/>
            <pc:sldMk cId="2185642509" sldId="406"/>
            <ac:grpSpMk id="65" creationId="{262F3E9C-25E9-4EAC-860D-5F3C80E07164}"/>
          </ac:grpSpMkLst>
        </pc:grpChg>
        <pc:grpChg chg="mod">
          <ac:chgData name="Guilherme Maia" userId="fc649a62-ead7-4fa2-a922-e831243cf1e5" providerId="ADAL" clId="{E735FD2F-BDEC-4495-A2AE-16B48448AB9F}" dt="2019-10-16T00:16:31.976" v="433" actId="2711"/>
          <ac:grpSpMkLst>
            <pc:docMk/>
            <pc:sldMk cId="2185642509" sldId="406"/>
            <ac:grpSpMk id="72" creationId="{ADAF3FE9-A642-4832-B5E4-9559D4C65D29}"/>
          </ac:grpSpMkLst>
        </pc:grpChg>
        <pc:cxnChg chg="mod">
          <ac:chgData name="Guilherme Maia" userId="fc649a62-ead7-4fa2-a922-e831243cf1e5" providerId="ADAL" clId="{E735FD2F-BDEC-4495-A2AE-16B48448AB9F}" dt="2019-10-16T00:16:31.976" v="433" actId="2711"/>
          <ac:cxnSpMkLst>
            <pc:docMk/>
            <pc:sldMk cId="2185642509" sldId="406"/>
            <ac:cxnSpMk id="55" creationId="{232F52D7-389C-4C15-A5D7-B29242D7B238}"/>
          </ac:cxnSpMkLst>
        </pc:cxnChg>
        <pc:cxnChg chg="mod">
          <ac:chgData name="Guilherme Maia" userId="fc649a62-ead7-4fa2-a922-e831243cf1e5" providerId="ADAL" clId="{E735FD2F-BDEC-4495-A2AE-16B48448AB9F}" dt="2019-10-16T00:16:31.976" v="433" actId="2711"/>
          <ac:cxnSpMkLst>
            <pc:docMk/>
            <pc:sldMk cId="2185642509" sldId="406"/>
            <ac:cxnSpMk id="71" creationId="{173775FE-E56A-4417-B52E-953F42316593}"/>
          </ac:cxnSpMkLst>
        </pc:cxnChg>
      </pc:sldChg>
      <pc:sldChg chg="del">
        <pc:chgData name="Guilherme Maia" userId="fc649a62-ead7-4fa2-a922-e831243cf1e5" providerId="ADAL" clId="{E735FD2F-BDEC-4495-A2AE-16B48448AB9F}" dt="2019-10-16T00:07:52.856" v="19" actId="47"/>
        <pc:sldMkLst>
          <pc:docMk/>
          <pc:sldMk cId="1001604506" sldId="1359"/>
        </pc:sldMkLst>
      </pc:sldChg>
      <pc:sldChg chg="add del">
        <pc:chgData name="Guilherme Maia" userId="fc649a62-ead7-4fa2-a922-e831243cf1e5" providerId="ADAL" clId="{E735FD2F-BDEC-4495-A2AE-16B48448AB9F}" dt="2019-10-16T00:07:51.581" v="18" actId="47"/>
        <pc:sldMkLst>
          <pc:docMk/>
          <pc:sldMk cId="1059281245" sldId="1367"/>
        </pc:sldMkLst>
      </pc:sldChg>
      <pc:sldChg chg="del">
        <pc:chgData name="Guilherme Maia" userId="fc649a62-ead7-4fa2-a922-e831243cf1e5" providerId="ADAL" clId="{E735FD2F-BDEC-4495-A2AE-16B48448AB9F}" dt="2019-10-16T00:13:23.377" v="330" actId="47"/>
        <pc:sldMkLst>
          <pc:docMk/>
          <pc:sldMk cId="4157075218" sldId="1464"/>
        </pc:sldMkLst>
      </pc:sldChg>
      <pc:sldChg chg="del">
        <pc:chgData name="Guilherme Maia" userId="fc649a62-ead7-4fa2-a922-e831243cf1e5" providerId="ADAL" clId="{E735FD2F-BDEC-4495-A2AE-16B48448AB9F}" dt="2019-10-16T00:16:43.504" v="438" actId="47"/>
        <pc:sldMkLst>
          <pc:docMk/>
          <pc:sldMk cId="2588411081" sldId="1497"/>
        </pc:sldMkLst>
      </pc:sldChg>
      <pc:sldChg chg="del">
        <pc:chgData name="Guilherme Maia" userId="fc649a62-ead7-4fa2-a922-e831243cf1e5" providerId="ADAL" clId="{E735FD2F-BDEC-4495-A2AE-16B48448AB9F}" dt="2019-10-16T00:32:15.913" v="489" actId="47"/>
        <pc:sldMkLst>
          <pc:docMk/>
          <pc:sldMk cId="2158254191" sldId="1498"/>
        </pc:sldMkLst>
      </pc:sldChg>
      <pc:sldChg chg="del">
        <pc:chgData name="Guilherme Maia" userId="fc649a62-ead7-4fa2-a922-e831243cf1e5" providerId="ADAL" clId="{E735FD2F-BDEC-4495-A2AE-16B48448AB9F}" dt="2019-10-16T00:32:15.152" v="488" actId="47"/>
        <pc:sldMkLst>
          <pc:docMk/>
          <pc:sldMk cId="408740488" sldId="1499"/>
        </pc:sldMkLst>
      </pc:sldChg>
      <pc:sldChg chg="del">
        <pc:chgData name="Guilherme Maia" userId="fc649a62-ead7-4fa2-a922-e831243cf1e5" providerId="ADAL" clId="{E735FD2F-BDEC-4495-A2AE-16B48448AB9F}" dt="2019-10-16T00:07:09.782" v="4" actId="47"/>
        <pc:sldMkLst>
          <pc:docMk/>
          <pc:sldMk cId="1046534936" sldId="1500"/>
        </pc:sldMkLst>
      </pc:sldChg>
      <pc:sldChg chg="del">
        <pc:chgData name="Guilherme Maia" userId="fc649a62-ead7-4fa2-a922-e831243cf1e5" providerId="ADAL" clId="{E735FD2F-BDEC-4495-A2AE-16B48448AB9F}" dt="2019-10-16T00:32:14.424" v="487" actId="47"/>
        <pc:sldMkLst>
          <pc:docMk/>
          <pc:sldMk cId="853911127" sldId="1502"/>
        </pc:sldMkLst>
      </pc:sldChg>
      <pc:sldChg chg="del">
        <pc:chgData name="Guilherme Maia" userId="fc649a62-ead7-4fa2-a922-e831243cf1e5" providerId="ADAL" clId="{E735FD2F-BDEC-4495-A2AE-16B48448AB9F}" dt="2019-10-16T00:32:04.723" v="484" actId="47"/>
        <pc:sldMkLst>
          <pc:docMk/>
          <pc:sldMk cId="813572720" sldId="1503"/>
        </pc:sldMkLst>
      </pc:sldChg>
      <pc:sldChg chg="del">
        <pc:chgData name="Guilherme Maia" userId="fc649a62-ead7-4fa2-a922-e831243cf1e5" providerId="ADAL" clId="{E735FD2F-BDEC-4495-A2AE-16B48448AB9F}" dt="2019-10-16T00:16:42.475" v="437" actId="47"/>
        <pc:sldMkLst>
          <pc:docMk/>
          <pc:sldMk cId="2289357893" sldId="1555"/>
        </pc:sldMkLst>
      </pc:sldChg>
      <pc:sldChg chg="del">
        <pc:chgData name="Guilherme Maia" userId="fc649a62-ead7-4fa2-a922-e831243cf1e5" providerId="ADAL" clId="{E735FD2F-BDEC-4495-A2AE-16B48448AB9F}" dt="2019-10-16T00:07:13.986" v="6" actId="47"/>
        <pc:sldMkLst>
          <pc:docMk/>
          <pc:sldMk cId="4061887055" sldId="1874"/>
        </pc:sldMkLst>
      </pc:sldChg>
      <pc:sldChg chg="del">
        <pc:chgData name="Guilherme Maia" userId="fc649a62-ead7-4fa2-a922-e831243cf1e5" providerId="ADAL" clId="{E735FD2F-BDEC-4495-A2AE-16B48448AB9F}" dt="2019-10-16T00:07:13.385" v="5" actId="47"/>
        <pc:sldMkLst>
          <pc:docMk/>
          <pc:sldMk cId="3567673573" sldId="1906"/>
        </pc:sldMkLst>
      </pc:sldChg>
      <pc:sldChg chg="modTransition">
        <pc:chgData name="Guilherme Maia" userId="fc649a62-ead7-4fa2-a922-e831243cf1e5" providerId="ADAL" clId="{E735FD2F-BDEC-4495-A2AE-16B48448AB9F}" dt="2019-10-16T03:27:04.369" v="862"/>
        <pc:sldMkLst>
          <pc:docMk/>
          <pc:sldMk cId="3739505304" sldId="9921"/>
        </pc:sldMkLst>
      </pc:sldChg>
      <pc:sldChg chg="modSp modTransition">
        <pc:chgData name="Guilherme Maia" userId="fc649a62-ead7-4fa2-a922-e831243cf1e5" providerId="ADAL" clId="{E735FD2F-BDEC-4495-A2AE-16B48448AB9F}" dt="2019-10-16T02:20:49.988" v="671"/>
        <pc:sldMkLst>
          <pc:docMk/>
          <pc:sldMk cId="2513096043" sldId="10482"/>
        </pc:sldMkLst>
        <pc:spChg chg="mod">
          <ac:chgData name="Guilherme Maia" userId="fc649a62-ead7-4fa2-a922-e831243cf1e5" providerId="ADAL" clId="{E735FD2F-BDEC-4495-A2AE-16B48448AB9F}" dt="2019-10-16T00:07:22.900" v="15" actId="20577"/>
          <ac:spMkLst>
            <pc:docMk/>
            <pc:sldMk cId="2513096043" sldId="10482"/>
            <ac:spMk id="5" creationId="{7C02D126-9D8B-4AD1-912A-D1DD7845047A}"/>
          </ac:spMkLst>
        </pc:spChg>
      </pc:sldChg>
      <pc:sldChg chg="modSp modAnim">
        <pc:chgData name="Guilherme Maia" userId="fc649a62-ead7-4fa2-a922-e831243cf1e5" providerId="ADAL" clId="{E735FD2F-BDEC-4495-A2AE-16B48448AB9F}" dt="2019-10-16T03:24:08.050" v="827" actId="1076"/>
        <pc:sldMkLst>
          <pc:docMk/>
          <pc:sldMk cId="4002716965" sldId="10483"/>
        </pc:sldMkLst>
        <pc:spChg chg="mod">
          <ac:chgData name="Guilherme Maia" userId="fc649a62-ead7-4fa2-a922-e831243cf1e5" providerId="ADAL" clId="{E735FD2F-BDEC-4495-A2AE-16B48448AB9F}" dt="2019-10-16T03:23:46.990" v="820" actId="20577"/>
          <ac:spMkLst>
            <pc:docMk/>
            <pc:sldMk cId="4002716965" sldId="10483"/>
            <ac:spMk id="2" creationId="{B20B2E21-9990-4B89-9E45-926299DC581A}"/>
          </ac:spMkLst>
        </pc:spChg>
        <pc:spChg chg="mod">
          <ac:chgData name="Guilherme Maia" userId="fc649a62-ead7-4fa2-a922-e831243cf1e5" providerId="ADAL" clId="{E735FD2F-BDEC-4495-A2AE-16B48448AB9F}" dt="2019-10-16T03:24:08.050" v="827" actId="1076"/>
          <ac:spMkLst>
            <pc:docMk/>
            <pc:sldMk cId="4002716965" sldId="10483"/>
            <ac:spMk id="3" creationId="{00000000-0000-0000-0000-000000000000}"/>
          </ac:spMkLst>
        </pc:spChg>
        <pc:spChg chg="mod">
          <ac:chgData name="Guilherme Maia" userId="fc649a62-ead7-4fa2-a922-e831243cf1e5" providerId="ADAL" clId="{E735FD2F-BDEC-4495-A2AE-16B48448AB9F}" dt="2019-10-16T03:23:58.915" v="822" actId="1076"/>
          <ac:spMkLst>
            <pc:docMk/>
            <pc:sldMk cId="4002716965" sldId="10483"/>
            <ac:spMk id="4" creationId="{00000000-0000-0000-0000-000000000000}"/>
          </ac:spMkLst>
        </pc:spChg>
        <pc:picChg chg="mod">
          <ac:chgData name="Guilherme Maia" userId="fc649a62-ead7-4fa2-a922-e831243cf1e5" providerId="ADAL" clId="{E735FD2F-BDEC-4495-A2AE-16B48448AB9F}" dt="2019-10-16T02:29:03.521" v="743" actId="2711"/>
          <ac:picMkLst>
            <pc:docMk/>
            <pc:sldMk cId="4002716965" sldId="10483"/>
            <ac:picMk id="2050" creationId="{00000000-0000-0000-0000-000000000000}"/>
          </ac:picMkLst>
        </pc:picChg>
      </pc:sldChg>
      <pc:sldChg chg="modTransition">
        <pc:chgData name="Guilherme Maia" userId="fc649a62-ead7-4fa2-a922-e831243cf1e5" providerId="ADAL" clId="{E735FD2F-BDEC-4495-A2AE-16B48448AB9F}" dt="2019-10-16T03:27:06.293" v="863"/>
        <pc:sldMkLst>
          <pc:docMk/>
          <pc:sldMk cId="946586403" sldId="10484"/>
        </pc:sldMkLst>
      </pc:sldChg>
      <pc:sldChg chg="modTransition">
        <pc:chgData name="Guilherme Maia" userId="fc649a62-ead7-4fa2-a922-e831243cf1e5" providerId="ADAL" clId="{E735FD2F-BDEC-4495-A2AE-16B48448AB9F}" dt="2019-10-16T03:27:00.029" v="860"/>
        <pc:sldMkLst>
          <pc:docMk/>
          <pc:sldMk cId="315313809" sldId="10487"/>
        </pc:sldMkLst>
      </pc:sldChg>
      <pc:sldChg chg="modTransition">
        <pc:chgData name="Guilherme Maia" userId="fc649a62-ead7-4fa2-a922-e831243cf1e5" providerId="ADAL" clId="{E735FD2F-BDEC-4495-A2AE-16B48448AB9F}" dt="2019-10-16T03:27:02.303" v="861"/>
        <pc:sldMkLst>
          <pc:docMk/>
          <pc:sldMk cId="2507572509" sldId="10488"/>
        </pc:sldMkLst>
      </pc:sldChg>
      <pc:sldChg chg="modSp">
        <pc:chgData name="Guilherme Maia" userId="fc649a62-ead7-4fa2-a922-e831243cf1e5" providerId="ADAL" clId="{E735FD2F-BDEC-4495-A2AE-16B48448AB9F}" dt="2019-10-16T00:32:50.520" v="599" actId="1076"/>
        <pc:sldMkLst>
          <pc:docMk/>
          <pc:sldMk cId="888293092" sldId="10493"/>
        </pc:sldMkLst>
        <pc:spChg chg="mod">
          <ac:chgData name="Guilherme Maia" userId="fc649a62-ead7-4fa2-a922-e831243cf1e5" providerId="ADAL" clId="{E735FD2F-BDEC-4495-A2AE-16B48448AB9F}" dt="2019-10-16T00:32:50.520" v="599" actId="1076"/>
          <ac:spMkLst>
            <pc:docMk/>
            <pc:sldMk cId="888293092" sldId="10493"/>
            <ac:spMk id="2" creationId="{00000000-0000-0000-0000-000000000000}"/>
          </ac:spMkLst>
        </pc:spChg>
      </pc:sldChg>
      <pc:sldChg chg="ord addCm delCm">
        <pc:chgData name="Guilherme Maia" userId="fc649a62-ead7-4fa2-a922-e831243cf1e5" providerId="ADAL" clId="{E735FD2F-BDEC-4495-A2AE-16B48448AB9F}" dt="2019-10-16T00:00:38.650" v="3"/>
        <pc:sldMkLst>
          <pc:docMk/>
          <pc:sldMk cId="2796991040" sldId="10494"/>
        </pc:sldMkLst>
      </pc:sldChg>
      <pc:sldMasterChg chg="delSldLayout">
        <pc:chgData name="Guilherme Maia" userId="fc649a62-ead7-4fa2-a922-e831243cf1e5" providerId="ADAL" clId="{E735FD2F-BDEC-4495-A2AE-16B48448AB9F}" dt="2019-10-16T00:32:15.913" v="489" actId="47"/>
        <pc:sldMasterMkLst>
          <pc:docMk/>
          <pc:sldMasterMk cId="3088352564" sldId="2147483953"/>
        </pc:sldMasterMkLst>
        <pc:sldLayoutChg chg="del">
          <pc:chgData name="Guilherme Maia" userId="fc649a62-ead7-4fa2-a922-e831243cf1e5" providerId="ADAL" clId="{E735FD2F-BDEC-4495-A2AE-16B48448AB9F}" dt="2019-10-16T00:07:52.856" v="19" actId="47"/>
          <pc:sldLayoutMkLst>
            <pc:docMk/>
            <pc:sldMasterMk cId="3088352564" sldId="2147483953"/>
            <pc:sldLayoutMk cId="1680028907" sldId="2147483972"/>
          </pc:sldLayoutMkLst>
        </pc:sldLayoutChg>
        <pc:sldLayoutChg chg="del">
          <pc:chgData name="Guilherme Maia" userId="fc649a62-ead7-4fa2-a922-e831243cf1e5" providerId="ADAL" clId="{E735FD2F-BDEC-4495-A2AE-16B48448AB9F}" dt="2019-10-16T00:13:23.377" v="330" actId="47"/>
          <pc:sldLayoutMkLst>
            <pc:docMk/>
            <pc:sldMasterMk cId="3088352564" sldId="2147483953"/>
            <pc:sldLayoutMk cId="3482498491" sldId="2147484004"/>
          </pc:sldLayoutMkLst>
        </pc:sldLayoutChg>
        <pc:sldLayoutChg chg="del">
          <pc:chgData name="Guilherme Maia" userId="fc649a62-ead7-4fa2-a922-e831243cf1e5" providerId="ADAL" clId="{E735FD2F-BDEC-4495-A2AE-16B48448AB9F}" dt="2019-10-16T00:16:42.475" v="437" actId="47"/>
          <pc:sldLayoutMkLst>
            <pc:docMk/>
            <pc:sldMasterMk cId="3088352564" sldId="2147483953"/>
            <pc:sldLayoutMk cId="1842849516" sldId="2147484005"/>
          </pc:sldLayoutMkLst>
        </pc:sldLayoutChg>
        <pc:sldLayoutChg chg="del">
          <pc:chgData name="Guilherme Maia" userId="fc649a62-ead7-4fa2-a922-e831243cf1e5" providerId="ADAL" clId="{E735FD2F-BDEC-4495-A2AE-16B48448AB9F}" dt="2019-10-16T00:16:43.504" v="438" actId="47"/>
          <pc:sldLayoutMkLst>
            <pc:docMk/>
            <pc:sldMasterMk cId="3088352564" sldId="2147483953"/>
            <pc:sldLayoutMk cId="2886762657" sldId="2147484006"/>
          </pc:sldLayoutMkLst>
        </pc:sldLayoutChg>
        <pc:sldLayoutChg chg="del">
          <pc:chgData name="Guilherme Maia" userId="fc649a62-ead7-4fa2-a922-e831243cf1e5" providerId="ADAL" clId="{E735FD2F-BDEC-4495-A2AE-16B48448AB9F}" dt="2019-10-16T00:32:04.723" v="484" actId="47"/>
          <pc:sldLayoutMkLst>
            <pc:docMk/>
            <pc:sldMasterMk cId="3088352564" sldId="2147483953"/>
            <pc:sldLayoutMk cId="1460756522" sldId="2147484007"/>
          </pc:sldLayoutMkLst>
        </pc:sldLayoutChg>
        <pc:sldLayoutChg chg="del">
          <pc:chgData name="Guilherme Maia" userId="fc649a62-ead7-4fa2-a922-e831243cf1e5" providerId="ADAL" clId="{E735FD2F-BDEC-4495-A2AE-16B48448AB9F}" dt="2019-10-16T00:32:14.424" v="487" actId="47"/>
          <pc:sldLayoutMkLst>
            <pc:docMk/>
            <pc:sldMasterMk cId="3088352564" sldId="2147483953"/>
            <pc:sldLayoutMk cId="2224834552" sldId="2147484008"/>
          </pc:sldLayoutMkLst>
        </pc:sldLayoutChg>
        <pc:sldLayoutChg chg="del">
          <pc:chgData name="Guilherme Maia" userId="fc649a62-ead7-4fa2-a922-e831243cf1e5" providerId="ADAL" clId="{E735FD2F-BDEC-4495-A2AE-16B48448AB9F}" dt="2019-10-16T00:32:15.152" v="488" actId="47"/>
          <pc:sldLayoutMkLst>
            <pc:docMk/>
            <pc:sldMasterMk cId="3088352564" sldId="2147483953"/>
            <pc:sldLayoutMk cId="2871593669" sldId="2147484009"/>
          </pc:sldLayoutMkLst>
        </pc:sldLayoutChg>
        <pc:sldLayoutChg chg="del">
          <pc:chgData name="Guilherme Maia" userId="fc649a62-ead7-4fa2-a922-e831243cf1e5" providerId="ADAL" clId="{E735FD2F-BDEC-4495-A2AE-16B48448AB9F}" dt="2019-10-16T00:32:15.913" v="489" actId="47"/>
          <pc:sldLayoutMkLst>
            <pc:docMk/>
            <pc:sldMasterMk cId="3088352564" sldId="2147483953"/>
            <pc:sldLayoutMk cId="3674114139" sldId="2147484010"/>
          </pc:sldLayoutMkLst>
        </pc:sldLayoutChg>
        <pc:sldLayoutChg chg="del">
          <pc:chgData name="Guilherme Maia" userId="fc649a62-ead7-4fa2-a922-e831243cf1e5" providerId="ADAL" clId="{E735FD2F-BDEC-4495-A2AE-16B48448AB9F}" dt="2019-10-16T00:07:09.782" v="4" actId="47"/>
          <pc:sldLayoutMkLst>
            <pc:docMk/>
            <pc:sldMasterMk cId="3088352564" sldId="2147483953"/>
            <pc:sldLayoutMk cId="2225784038" sldId="2147484011"/>
          </pc:sldLayoutMkLst>
        </pc:sldLayoutChg>
        <pc:sldLayoutChg chg="del">
          <pc:chgData name="Guilherme Maia" userId="fc649a62-ead7-4fa2-a922-e831243cf1e5" providerId="ADAL" clId="{E735FD2F-BDEC-4495-A2AE-16B48448AB9F}" dt="2019-10-16T00:32:13.653" v="486" actId="47"/>
          <pc:sldLayoutMkLst>
            <pc:docMk/>
            <pc:sldMasterMk cId="3088352564" sldId="2147483953"/>
            <pc:sldLayoutMk cId="3195057161" sldId="2147484019"/>
          </pc:sldLayoutMkLst>
        </pc:sldLayoutChg>
      </pc:sldMasterChg>
    </pc:docChg>
  </pc:docChgLst>
  <pc:docChgLst>
    <pc:chgData name="Guilherme Maia" userId="fc649a62-ead7-4fa2-a922-e831243cf1e5" providerId="ADAL" clId="{46643E34-627B-436F-AC44-0A197FC529D8}"/>
    <pc:docChg chg="undo custSel addSld delSld modSld sldOrd">
      <pc:chgData name="Guilherme Maia" userId="fc649a62-ead7-4fa2-a922-e831243cf1e5" providerId="ADAL" clId="{46643E34-627B-436F-AC44-0A197FC529D8}" dt="2019-12-11T15:37:43.681" v="402" actId="20577"/>
      <pc:docMkLst>
        <pc:docMk/>
      </pc:docMkLst>
      <pc:sldChg chg="del">
        <pc:chgData name="Guilherme Maia" userId="fc649a62-ead7-4fa2-a922-e831243cf1e5" providerId="ADAL" clId="{46643E34-627B-436F-AC44-0A197FC529D8}" dt="2019-12-11T00:13:35.996" v="145" actId="47"/>
        <pc:sldMkLst>
          <pc:docMk/>
          <pc:sldMk cId="2945425769" sldId="276"/>
        </pc:sldMkLst>
      </pc:sldChg>
      <pc:sldChg chg="del">
        <pc:chgData name="Guilherme Maia" userId="fc649a62-ead7-4fa2-a922-e831243cf1e5" providerId="ADAL" clId="{46643E34-627B-436F-AC44-0A197FC529D8}" dt="2019-12-11T00:13:35.996" v="145" actId="47"/>
        <pc:sldMkLst>
          <pc:docMk/>
          <pc:sldMk cId="1974478059" sldId="277"/>
        </pc:sldMkLst>
      </pc:sldChg>
      <pc:sldChg chg="addSp delSp modSp add del">
        <pc:chgData name="Guilherme Maia" userId="fc649a62-ead7-4fa2-a922-e831243cf1e5" providerId="ADAL" clId="{46643E34-627B-436F-AC44-0A197FC529D8}" dt="2019-12-11T15:37:43.681" v="402" actId="20577"/>
        <pc:sldMkLst>
          <pc:docMk/>
          <pc:sldMk cId="167094349" sldId="280"/>
        </pc:sldMkLst>
        <pc:spChg chg="mod">
          <ac:chgData name="Guilherme Maia" userId="fc649a62-ead7-4fa2-a922-e831243cf1e5" providerId="ADAL" clId="{46643E34-627B-436F-AC44-0A197FC529D8}" dt="2019-12-11T15:37:43.681" v="402" actId="20577"/>
          <ac:spMkLst>
            <pc:docMk/>
            <pc:sldMk cId="167094349" sldId="280"/>
            <ac:spMk id="2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7:39.902" v="398" actId="478"/>
          <ac:inkMkLst>
            <pc:docMk/>
            <pc:sldMk cId="167094349" sldId="280"/>
            <ac:inkMk id="4" creationId="{51C3B3D6-E0CC-4237-80D7-C74C275902C7}"/>
          </ac:inkMkLst>
        </pc:inkChg>
      </pc:sldChg>
      <pc:sldChg chg="modTransition">
        <pc:chgData name="Guilherme Maia" userId="fc649a62-ead7-4fa2-a922-e831243cf1e5" providerId="ADAL" clId="{46643E34-627B-436F-AC44-0A197FC529D8}" dt="2019-12-11T00:06:32.976" v="36"/>
        <pc:sldMkLst>
          <pc:docMk/>
          <pc:sldMk cId="2901408998" sldId="284"/>
        </pc:sldMkLst>
      </pc:sldChg>
      <pc:sldChg chg="add del">
        <pc:chgData name="Guilherme Maia" userId="fc649a62-ead7-4fa2-a922-e831243cf1e5" providerId="ADAL" clId="{46643E34-627B-436F-AC44-0A197FC529D8}" dt="2019-12-11T00:13:37.231" v="146"/>
        <pc:sldMkLst>
          <pc:docMk/>
          <pc:sldMk cId="3122633258" sldId="314"/>
        </pc:sldMkLst>
      </pc:sldChg>
      <pc:sldChg chg="addSp delSp add del">
        <pc:chgData name="Guilherme Maia" userId="fc649a62-ead7-4fa2-a922-e831243cf1e5" providerId="ADAL" clId="{46643E34-627B-436F-AC44-0A197FC529D8}" dt="2019-12-11T15:37:34.701" v="396" actId="478"/>
        <pc:sldMkLst>
          <pc:docMk/>
          <pc:sldMk cId="3303116671" sldId="316"/>
        </pc:sldMkLst>
        <pc:spChg chg="del">
          <ac:chgData name="Guilherme Maia" userId="fc649a62-ead7-4fa2-a922-e831243cf1e5" providerId="ADAL" clId="{46643E34-627B-436F-AC44-0A197FC529D8}" dt="2019-12-11T15:37:29.979" v="395" actId="478"/>
          <ac:spMkLst>
            <pc:docMk/>
            <pc:sldMk cId="3303116671" sldId="316"/>
            <ac:spMk id="3" creationId="{578BB5F3-C318-4719-B76F-AD28422937EC}"/>
          </ac:spMkLst>
        </pc:spChg>
        <pc:inkChg chg="add del">
          <ac:chgData name="Guilherme Maia" userId="fc649a62-ead7-4fa2-a922-e831243cf1e5" providerId="ADAL" clId="{46643E34-627B-436F-AC44-0A197FC529D8}" dt="2019-12-11T15:37:34.701" v="396" actId="478"/>
          <ac:inkMkLst>
            <pc:docMk/>
            <pc:sldMk cId="3303116671" sldId="316"/>
            <ac:inkMk id="4" creationId="{F994D67D-2CAE-4E54-9B89-8D6533503A88}"/>
          </ac:inkMkLst>
        </pc:inkChg>
      </pc:sldChg>
      <pc:sldChg chg="addSp delSp modSp add del">
        <pc:chgData name="Guilherme Maia" userId="fc649a62-ead7-4fa2-a922-e831243cf1e5" providerId="ADAL" clId="{46643E34-627B-436F-AC44-0A197FC529D8}" dt="2019-12-11T15:37:25.962" v="394" actId="478"/>
        <pc:sldMkLst>
          <pc:docMk/>
          <pc:sldMk cId="176639409" sldId="332"/>
        </pc:sldMkLst>
        <pc:spChg chg="mod">
          <ac:chgData name="Guilherme Maia" userId="fc649a62-ead7-4fa2-a922-e831243cf1e5" providerId="ADAL" clId="{46643E34-627B-436F-AC44-0A197FC529D8}" dt="2019-12-11T00:14:59.772" v="184" actId="20577"/>
          <ac:spMkLst>
            <pc:docMk/>
            <pc:sldMk cId="176639409" sldId="332"/>
            <ac:spMk id="2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7:25.962" v="394" actId="478"/>
          <ac:inkMkLst>
            <pc:docMk/>
            <pc:sldMk cId="176639409" sldId="332"/>
            <ac:inkMk id="3" creationId="{C4056853-EB82-405E-A7B9-4C09AAF6245C}"/>
          </ac:inkMkLst>
        </pc:inkChg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2227736190" sldId="1873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1565801163" sldId="1881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4245557395" sldId="1915"/>
        </pc:sldMkLst>
      </pc:sldChg>
      <pc:sldChg chg="del">
        <pc:chgData name="Guilherme Maia" userId="fc649a62-ead7-4fa2-a922-e831243cf1e5" providerId="ADAL" clId="{46643E34-627B-436F-AC44-0A197FC529D8}" dt="2019-12-11T00:10:03.320" v="93" actId="47"/>
        <pc:sldMkLst>
          <pc:docMk/>
          <pc:sldMk cId="3887608198" sldId="1933"/>
        </pc:sldMkLst>
      </pc:sldChg>
      <pc:sldChg chg="del">
        <pc:chgData name="Guilherme Maia" userId="fc649a62-ead7-4fa2-a922-e831243cf1e5" providerId="ADAL" clId="{46643E34-627B-436F-AC44-0A197FC529D8}" dt="2019-12-11T00:10:03.320" v="93" actId="47"/>
        <pc:sldMkLst>
          <pc:docMk/>
          <pc:sldMk cId="4262151824" sldId="1934"/>
        </pc:sldMkLst>
      </pc:sldChg>
      <pc:sldChg chg="del">
        <pc:chgData name="Guilherme Maia" userId="fc649a62-ead7-4fa2-a922-e831243cf1e5" providerId="ADAL" clId="{46643E34-627B-436F-AC44-0A197FC529D8}" dt="2019-12-11T00:10:03.320" v="93" actId="47"/>
        <pc:sldMkLst>
          <pc:docMk/>
          <pc:sldMk cId="1784033833" sldId="1935"/>
        </pc:sldMkLst>
      </pc:sldChg>
      <pc:sldChg chg="addSp delSp modSp add">
        <pc:chgData name="Guilherme Maia" userId="fc649a62-ead7-4fa2-a922-e831243cf1e5" providerId="ADAL" clId="{46643E34-627B-436F-AC44-0A197FC529D8}" dt="2019-12-11T15:36:56.484" v="389" actId="478"/>
        <pc:sldMkLst>
          <pc:docMk/>
          <pc:sldMk cId="455305597" sldId="2201"/>
        </pc:sldMkLst>
        <pc:spChg chg="mod">
          <ac:chgData name="Guilherme Maia" userId="fc649a62-ead7-4fa2-a922-e831243cf1e5" providerId="ADAL" clId="{46643E34-627B-436F-AC44-0A197FC529D8}" dt="2019-12-11T00:07:38.571" v="52" actId="14100"/>
          <ac:spMkLst>
            <pc:docMk/>
            <pc:sldMk cId="455305597" sldId="2201"/>
            <ac:spMk id="2" creationId="{C6E2EFCE-4469-460C-B833-A34524AD674E}"/>
          </ac:spMkLst>
        </pc:spChg>
        <pc:spChg chg="mod">
          <ac:chgData name="Guilherme Maia" userId="fc649a62-ead7-4fa2-a922-e831243cf1e5" providerId="ADAL" clId="{46643E34-627B-436F-AC44-0A197FC529D8}" dt="2019-12-11T00:07:41.883" v="53" actId="14100"/>
          <ac:spMkLst>
            <pc:docMk/>
            <pc:sldMk cId="455305597" sldId="2201"/>
            <ac:spMk id="17" creationId="{00000000-0000-0000-0000-000000000000}"/>
          </ac:spMkLst>
        </pc:spChg>
        <pc:picChg chg="mod">
          <ac:chgData name="Guilherme Maia" userId="fc649a62-ead7-4fa2-a922-e831243cf1e5" providerId="ADAL" clId="{46643E34-627B-436F-AC44-0A197FC529D8}" dt="2019-12-11T00:07:38.571" v="52" actId="14100"/>
          <ac:picMkLst>
            <pc:docMk/>
            <pc:sldMk cId="455305597" sldId="2201"/>
            <ac:picMk id="4" creationId="{6CC715E3-B01F-4FEF-884F-27EABA401109}"/>
          </ac:picMkLst>
        </pc:picChg>
        <pc:inkChg chg="add del">
          <ac:chgData name="Guilherme Maia" userId="fc649a62-ead7-4fa2-a922-e831243cf1e5" providerId="ADAL" clId="{46643E34-627B-436F-AC44-0A197FC529D8}" dt="2019-12-11T15:36:56.484" v="389" actId="478"/>
          <ac:inkMkLst>
            <pc:docMk/>
            <pc:sldMk cId="455305597" sldId="2201"/>
            <ac:inkMk id="3" creationId="{2D616DDA-4B6F-4B1D-AD76-58F2A27D5E28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52.477" v="388" actId="478"/>
        <pc:sldMkLst>
          <pc:docMk/>
          <pc:sldMk cId="2435507695" sldId="2202"/>
        </pc:sldMkLst>
        <pc:spChg chg="mod">
          <ac:chgData name="Guilherme Maia" userId="fc649a62-ead7-4fa2-a922-e831243cf1e5" providerId="ADAL" clId="{46643E34-627B-436F-AC44-0A197FC529D8}" dt="2019-12-11T00:07:50.516" v="55" actId="2711"/>
          <ac:spMkLst>
            <pc:docMk/>
            <pc:sldMk cId="2435507695" sldId="2202"/>
            <ac:spMk id="2" creationId="{0D59B8F1-90B0-44C4-A54B-4E2CBF12F448}"/>
          </ac:spMkLst>
        </pc:spChg>
        <pc:spChg chg="mod">
          <ac:chgData name="Guilherme Maia" userId="fc649a62-ead7-4fa2-a922-e831243cf1e5" providerId="ADAL" clId="{46643E34-627B-436F-AC44-0A197FC529D8}" dt="2019-12-11T00:07:50.516" v="55" actId="2711"/>
          <ac:spMkLst>
            <pc:docMk/>
            <pc:sldMk cId="2435507695" sldId="2202"/>
            <ac:spMk id="6" creationId="{C908289F-745A-4D24-9A96-CB42CB8DC84C}"/>
          </ac:spMkLst>
        </pc:spChg>
        <pc:spChg chg="mod">
          <ac:chgData name="Guilherme Maia" userId="fc649a62-ead7-4fa2-a922-e831243cf1e5" providerId="ADAL" clId="{46643E34-627B-436F-AC44-0A197FC529D8}" dt="2019-12-11T00:07:50.516" v="55" actId="2711"/>
          <ac:spMkLst>
            <pc:docMk/>
            <pc:sldMk cId="2435507695" sldId="2202"/>
            <ac:spMk id="17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6:52.477" v="388" actId="478"/>
          <ac:inkMkLst>
            <pc:docMk/>
            <pc:sldMk cId="2435507695" sldId="2202"/>
            <ac:inkMk id="3" creationId="{DF15DA2E-8C5C-4F9A-B6EC-9F5DE1C822C1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49.196" v="387" actId="478"/>
        <pc:sldMkLst>
          <pc:docMk/>
          <pc:sldMk cId="43772575" sldId="2203"/>
        </pc:sldMkLst>
        <pc:spChg chg="mod">
          <ac:chgData name="Guilherme Maia" userId="fc649a62-ead7-4fa2-a922-e831243cf1e5" providerId="ADAL" clId="{46643E34-627B-436F-AC44-0A197FC529D8}" dt="2019-12-11T00:07:56.032" v="56" actId="2711"/>
          <ac:spMkLst>
            <pc:docMk/>
            <pc:sldMk cId="43772575" sldId="2203"/>
            <ac:spMk id="3" creationId="{B0C1C664-E0CD-4259-8E72-F218641B24E4}"/>
          </ac:spMkLst>
        </pc:spChg>
        <pc:spChg chg="mod">
          <ac:chgData name="Guilherme Maia" userId="fc649a62-ead7-4fa2-a922-e831243cf1e5" providerId="ADAL" clId="{46643E34-627B-436F-AC44-0A197FC529D8}" dt="2019-12-11T00:08:01.792" v="58" actId="113"/>
          <ac:spMkLst>
            <pc:docMk/>
            <pc:sldMk cId="43772575" sldId="2203"/>
            <ac:spMk id="17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6:49.196" v="387" actId="478"/>
          <ac:inkMkLst>
            <pc:docMk/>
            <pc:sldMk cId="43772575" sldId="2203"/>
            <ac:inkMk id="2" creationId="{7EE9A7CC-7E03-42D4-B4B1-B563177DAF64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45.718" v="386" actId="478"/>
        <pc:sldMkLst>
          <pc:docMk/>
          <pc:sldMk cId="2401577376" sldId="2206"/>
        </pc:sldMkLst>
        <pc:spChg chg="mod">
          <ac:chgData name="Guilherme Maia" userId="fc649a62-ead7-4fa2-a922-e831243cf1e5" providerId="ADAL" clId="{46643E34-627B-436F-AC44-0A197FC529D8}" dt="2019-12-11T00:08:10.541" v="59" actId="2711"/>
          <ac:spMkLst>
            <pc:docMk/>
            <pc:sldMk cId="2401577376" sldId="2206"/>
            <ac:spMk id="3" creationId="{D3551FB6-F8B9-462B-A478-205C74400ED7}"/>
          </ac:spMkLst>
        </pc:spChg>
        <pc:spChg chg="mod">
          <ac:chgData name="Guilherme Maia" userId="fc649a62-ead7-4fa2-a922-e831243cf1e5" providerId="ADAL" clId="{46643E34-627B-436F-AC44-0A197FC529D8}" dt="2019-12-11T00:08:18.019" v="61" actId="14100"/>
          <ac:spMkLst>
            <pc:docMk/>
            <pc:sldMk cId="2401577376" sldId="2206"/>
            <ac:spMk id="17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6:45.718" v="386" actId="478"/>
          <ac:inkMkLst>
            <pc:docMk/>
            <pc:sldMk cId="2401577376" sldId="2206"/>
            <ac:inkMk id="2" creationId="{59DC83C8-FF8D-4719-9F1C-ED0C248DBBC8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41.338" v="385" actId="478"/>
        <pc:sldMkLst>
          <pc:docMk/>
          <pc:sldMk cId="962869845" sldId="2207"/>
        </pc:sldMkLst>
        <pc:spChg chg="mod">
          <ac:chgData name="Guilherme Maia" userId="fc649a62-ead7-4fa2-a922-e831243cf1e5" providerId="ADAL" clId="{46643E34-627B-436F-AC44-0A197FC529D8}" dt="2019-12-11T00:09:11.395" v="73" actId="1076"/>
          <ac:spMkLst>
            <pc:docMk/>
            <pc:sldMk cId="962869845" sldId="2207"/>
            <ac:spMk id="6" creationId="{C908289F-745A-4D24-9A96-CB42CB8DC84C}"/>
          </ac:spMkLst>
        </pc:spChg>
        <pc:spChg chg="mod">
          <ac:chgData name="Guilherme Maia" userId="fc649a62-ead7-4fa2-a922-e831243cf1e5" providerId="ADAL" clId="{46643E34-627B-436F-AC44-0A197FC529D8}" dt="2019-12-11T00:08:54.184" v="68" actId="14100"/>
          <ac:spMkLst>
            <pc:docMk/>
            <pc:sldMk cId="962869845" sldId="2207"/>
            <ac:spMk id="17" creationId="{00000000-0000-0000-0000-000000000000}"/>
          </ac:spMkLst>
        </pc:spChg>
        <pc:picChg chg="mod">
          <ac:chgData name="Guilherme Maia" userId="fc649a62-ead7-4fa2-a922-e831243cf1e5" providerId="ADAL" clId="{46643E34-627B-436F-AC44-0A197FC529D8}" dt="2019-12-11T00:09:12.380" v="74" actId="1076"/>
          <ac:picMkLst>
            <pc:docMk/>
            <pc:sldMk cId="962869845" sldId="2207"/>
            <ac:picMk id="7" creationId="{D3373B0E-4893-4A53-A24E-33B39E7B971A}"/>
          </ac:picMkLst>
        </pc:picChg>
        <pc:inkChg chg="add del">
          <ac:chgData name="Guilherme Maia" userId="fc649a62-ead7-4fa2-a922-e831243cf1e5" providerId="ADAL" clId="{46643E34-627B-436F-AC44-0A197FC529D8}" dt="2019-12-11T15:36:41.338" v="385" actId="478"/>
          <ac:inkMkLst>
            <pc:docMk/>
            <pc:sldMk cId="962869845" sldId="2207"/>
            <ac:inkMk id="2" creationId="{7FBE59E7-5F12-4CB1-86A4-F9900550C3C6}"/>
          </ac:inkMkLst>
        </pc:inkChg>
      </pc:sldChg>
      <pc:sldChg chg="addSp add">
        <pc:chgData name="Guilherme Maia" userId="fc649a62-ead7-4fa2-a922-e831243cf1e5" providerId="ADAL" clId="{46643E34-627B-436F-AC44-0A197FC529D8}" dt="2019-12-11T15:07:02.974" v="382"/>
        <pc:sldMkLst>
          <pc:docMk/>
          <pc:sldMk cId="3263218479" sldId="2208"/>
        </pc:sldMkLst>
        <pc:inkChg chg="add">
          <ac:chgData name="Guilherme Maia" userId="fc649a62-ead7-4fa2-a922-e831243cf1e5" providerId="ADAL" clId="{46643E34-627B-436F-AC44-0A197FC529D8}" dt="2019-12-11T15:07:02.974" v="382"/>
          <ac:inkMkLst>
            <pc:docMk/>
            <pc:sldMk cId="3263218479" sldId="2208"/>
            <ac:inkMk id="4" creationId="{CB53A110-FF72-47E5-A11C-FBF24F63F8C9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37.722" v="384" actId="478"/>
        <pc:sldMkLst>
          <pc:docMk/>
          <pc:sldMk cId="3639110345" sldId="2210"/>
        </pc:sldMkLst>
        <pc:spChg chg="mod">
          <ac:chgData name="Guilherme Maia" userId="fc649a62-ead7-4fa2-a922-e831243cf1e5" providerId="ADAL" clId="{46643E34-627B-436F-AC44-0A197FC529D8}" dt="2019-12-11T00:08:30.068" v="64" actId="14100"/>
          <ac:spMkLst>
            <pc:docMk/>
            <pc:sldMk cId="3639110345" sldId="2210"/>
            <ac:spMk id="2" creationId="{7284E4C7-C278-41E2-ABE5-CE81E9AEF3AE}"/>
          </ac:spMkLst>
        </pc:spChg>
        <pc:spChg chg="mod">
          <ac:chgData name="Guilherme Maia" userId="fc649a62-ead7-4fa2-a922-e831243cf1e5" providerId="ADAL" clId="{46643E34-627B-436F-AC44-0A197FC529D8}" dt="2019-12-11T00:08:26.160" v="63" actId="2711"/>
          <ac:spMkLst>
            <pc:docMk/>
            <pc:sldMk cId="3639110345" sldId="2210"/>
            <ac:spMk id="3" creationId="{5839F323-8DCB-435B-9084-226DA7FEDA83}"/>
          </ac:spMkLst>
        </pc:spChg>
        <pc:picChg chg="mod">
          <ac:chgData name="Guilherme Maia" userId="fc649a62-ead7-4fa2-a922-e831243cf1e5" providerId="ADAL" clId="{46643E34-627B-436F-AC44-0A197FC529D8}" dt="2019-12-11T00:08:31.667" v="65" actId="1076"/>
          <ac:picMkLst>
            <pc:docMk/>
            <pc:sldMk cId="3639110345" sldId="2210"/>
            <ac:picMk id="5" creationId="{80830159-8C23-47CB-B9AA-15F56D0E6B87}"/>
          </ac:picMkLst>
        </pc:picChg>
        <pc:inkChg chg="add del">
          <ac:chgData name="Guilherme Maia" userId="fc649a62-ead7-4fa2-a922-e831243cf1e5" providerId="ADAL" clId="{46643E34-627B-436F-AC44-0A197FC529D8}" dt="2019-12-11T15:36:37.722" v="384" actId="478"/>
          <ac:inkMkLst>
            <pc:docMk/>
            <pc:sldMk cId="3639110345" sldId="2210"/>
            <ac:inkMk id="4" creationId="{50BAFDBD-0422-47B4-99AC-D514D17B738F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15:36:31.568" v="383" actId="478"/>
        <pc:sldMkLst>
          <pc:docMk/>
          <pc:sldMk cId="2227079170" sldId="2214"/>
        </pc:sldMkLst>
        <pc:spChg chg="mod">
          <ac:chgData name="Guilherme Maia" userId="fc649a62-ead7-4fa2-a922-e831243cf1e5" providerId="ADAL" clId="{46643E34-627B-436F-AC44-0A197FC529D8}" dt="2019-12-11T00:09:28.769" v="77" actId="2711"/>
          <ac:spMkLst>
            <pc:docMk/>
            <pc:sldMk cId="2227079170" sldId="2214"/>
            <ac:spMk id="3" creationId="{5894A69C-958A-49B2-A75A-434C9DA2786F}"/>
          </ac:spMkLst>
        </pc:spChg>
        <pc:spChg chg="mod">
          <ac:chgData name="Guilherme Maia" userId="fc649a62-ead7-4fa2-a922-e831243cf1e5" providerId="ADAL" clId="{46643E34-627B-436F-AC44-0A197FC529D8}" dt="2019-12-11T00:09:33.540" v="79" actId="14100"/>
          <ac:spMkLst>
            <pc:docMk/>
            <pc:sldMk cId="2227079170" sldId="2214"/>
            <ac:spMk id="17" creationId="{00000000-0000-0000-0000-000000000000}"/>
          </ac:spMkLst>
        </pc:spChg>
        <pc:picChg chg="mod">
          <ac:chgData name="Guilherme Maia" userId="fc649a62-ead7-4fa2-a922-e831243cf1e5" providerId="ADAL" clId="{46643E34-627B-436F-AC44-0A197FC529D8}" dt="2019-12-11T00:09:24.045" v="76" actId="1076"/>
          <ac:picMkLst>
            <pc:docMk/>
            <pc:sldMk cId="2227079170" sldId="2214"/>
            <ac:picMk id="5" creationId="{B9BA47B3-9AA9-4478-B064-B535C0569F3C}"/>
          </ac:picMkLst>
        </pc:picChg>
        <pc:inkChg chg="add del">
          <ac:chgData name="Guilherme Maia" userId="fc649a62-ead7-4fa2-a922-e831243cf1e5" providerId="ADAL" clId="{46643E34-627B-436F-AC44-0A197FC529D8}" dt="2019-12-11T15:36:31.568" v="383" actId="478"/>
          <ac:inkMkLst>
            <pc:docMk/>
            <pc:sldMk cId="2227079170" sldId="2214"/>
            <ac:inkMk id="2" creationId="{8A138145-25A3-4AE0-8936-590AF32E2607}"/>
          </ac:inkMkLst>
        </pc:inkChg>
      </pc:sldChg>
      <pc:sldChg chg="addSp delSp modSp add">
        <pc:chgData name="Guilherme Maia" userId="fc649a62-ead7-4fa2-a922-e831243cf1e5" providerId="ADAL" clId="{46643E34-627B-436F-AC44-0A197FC529D8}" dt="2019-12-11T00:07:26.617" v="49" actId="207"/>
        <pc:sldMkLst>
          <pc:docMk/>
          <pc:sldMk cId="2060735314" sldId="2233"/>
        </pc:sldMkLst>
        <pc:spChg chg="del mod">
          <ac:chgData name="Guilherme Maia" userId="fc649a62-ead7-4fa2-a922-e831243cf1e5" providerId="ADAL" clId="{46643E34-627B-436F-AC44-0A197FC529D8}" dt="2019-12-11T00:07:12.729" v="46" actId="478"/>
          <ac:spMkLst>
            <pc:docMk/>
            <pc:sldMk cId="2060735314" sldId="2233"/>
            <ac:spMk id="2" creationId="{BA6D4DA7-EEAE-4A8B-A91E-6590B153BF49}"/>
          </ac:spMkLst>
        </pc:spChg>
        <pc:spChg chg="mod">
          <ac:chgData name="Guilherme Maia" userId="fc649a62-ead7-4fa2-a922-e831243cf1e5" providerId="ADAL" clId="{46643E34-627B-436F-AC44-0A197FC529D8}" dt="2019-12-11T00:07:26.617" v="49" actId="207"/>
          <ac:spMkLst>
            <pc:docMk/>
            <pc:sldMk cId="2060735314" sldId="2233"/>
            <ac:spMk id="3" creationId="{905AEEDD-5D0D-4868-9530-91B5BD7D7319}"/>
          </ac:spMkLst>
        </pc:spChg>
        <pc:spChg chg="add mod">
          <ac:chgData name="Guilherme Maia" userId="fc649a62-ead7-4fa2-a922-e831243cf1e5" providerId="ADAL" clId="{46643E34-627B-436F-AC44-0A197FC529D8}" dt="2019-12-11T00:07:22.663" v="48" actId="2711"/>
          <ac:spMkLst>
            <pc:docMk/>
            <pc:sldMk cId="2060735314" sldId="2233"/>
            <ac:spMk id="4" creationId="{55CF2D50-424F-4531-B1A4-CD4F54C37DB2}"/>
          </ac:spMkLst>
        </pc:spChg>
      </pc:sldChg>
      <pc:sldChg chg="del">
        <pc:chgData name="Guilherme Maia" userId="fc649a62-ead7-4fa2-a922-e831243cf1e5" providerId="ADAL" clId="{46643E34-627B-436F-AC44-0A197FC529D8}" dt="2019-12-11T00:32:47.701" v="187" actId="47"/>
        <pc:sldMkLst>
          <pc:docMk/>
          <pc:sldMk cId="3589957637" sldId="2529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2325392413" sldId="2530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3536123919" sldId="2531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424470091" sldId="2533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2877408914" sldId="2534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907671095" sldId="2537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1601130185" sldId="2538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1500838324" sldId="2539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1680954869" sldId="2540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1540127173" sldId="2541"/>
        </pc:sldMkLst>
      </pc:sldChg>
      <pc:sldChg chg="del">
        <pc:chgData name="Guilherme Maia" userId="fc649a62-ead7-4fa2-a922-e831243cf1e5" providerId="ADAL" clId="{46643E34-627B-436F-AC44-0A197FC529D8}" dt="2019-12-11T00:09:40.795" v="80" actId="47"/>
        <pc:sldMkLst>
          <pc:docMk/>
          <pc:sldMk cId="3687525429" sldId="2542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2420866615" sldId="2548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551864555" sldId="2555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1467069214" sldId="2557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152517436" sldId="2558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705694620" sldId="2559"/>
        </pc:sldMkLst>
      </pc:sldChg>
      <pc:sldChg chg="del">
        <pc:chgData name="Guilherme Maia" userId="fc649a62-ead7-4fa2-a922-e831243cf1e5" providerId="ADAL" clId="{46643E34-627B-436F-AC44-0A197FC529D8}" dt="2019-12-11T00:10:08.142" v="94" actId="47"/>
        <pc:sldMkLst>
          <pc:docMk/>
          <pc:sldMk cId="1317896239" sldId="2560"/>
        </pc:sldMkLst>
      </pc:sldChg>
      <pc:sldChg chg="modTransition">
        <pc:chgData name="Guilherme Maia" userId="fc649a62-ead7-4fa2-a922-e831243cf1e5" providerId="ADAL" clId="{46643E34-627B-436F-AC44-0A197FC529D8}" dt="2019-12-11T00:06:34.864" v="37"/>
        <pc:sldMkLst>
          <pc:docMk/>
          <pc:sldMk cId="2513096043" sldId="10482"/>
        </pc:sldMkLst>
      </pc:sldChg>
      <pc:sldChg chg="addSp delSp modSp add del modAnim">
        <pc:chgData name="Guilherme Maia" userId="fc649a62-ead7-4fa2-a922-e831243cf1e5" providerId="ADAL" clId="{46643E34-627B-436F-AC44-0A197FC529D8}" dt="2019-12-11T15:37:15.549" v="393" actId="20577"/>
        <pc:sldMkLst>
          <pc:docMk/>
          <pc:sldMk cId="4002716965" sldId="10483"/>
        </pc:sldMkLst>
        <pc:spChg chg="mod">
          <ac:chgData name="Guilherme Maia" userId="fc649a62-ead7-4fa2-a922-e831243cf1e5" providerId="ADAL" clId="{46643E34-627B-436F-AC44-0A197FC529D8}" dt="2019-12-11T00:14:42.900" v="177" actId="1076"/>
          <ac:spMkLst>
            <pc:docMk/>
            <pc:sldMk cId="4002716965" sldId="10483"/>
            <ac:spMk id="3" creationId="{00000000-0000-0000-0000-000000000000}"/>
          </ac:spMkLst>
        </pc:spChg>
        <pc:spChg chg="mod">
          <ac:chgData name="Guilherme Maia" userId="fc649a62-ead7-4fa2-a922-e831243cf1e5" providerId="ADAL" clId="{46643E34-627B-436F-AC44-0A197FC529D8}" dt="2019-12-11T15:37:15.549" v="393" actId="20577"/>
          <ac:spMkLst>
            <pc:docMk/>
            <pc:sldMk cId="4002716965" sldId="10483"/>
            <ac:spMk id="4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7:13.343" v="391" actId="478"/>
          <ac:inkMkLst>
            <pc:docMk/>
            <pc:sldMk cId="4002716965" sldId="10483"/>
            <ac:inkMk id="5" creationId="{544EEB91-704D-4765-B9FC-2B5E40E5A026}"/>
          </ac:inkMkLst>
        </pc:inkChg>
      </pc:sldChg>
      <pc:sldChg chg="addSp add del">
        <pc:chgData name="Guilherme Maia" userId="fc649a62-ead7-4fa2-a922-e831243cf1e5" providerId="ADAL" clId="{46643E34-627B-436F-AC44-0A197FC529D8}" dt="2019-12-11T15:07:02.974" v="382"/>
        <pc:sldMkLst>
          <pc:docMk/>
          <pc:sldMk cId="946586403" sldId="10484"/>
        </pc:sldMkLst>
        <pc:inkChg chg="add">
          <ac:chgData name="Guilherme Maia" userId="fc649a62-ead7-4fa2-a922-e831243cf1e5" providerId="ADAL" clId="{46643E34-627B-436F-AC44-0A197FC529D8}" dt="2019-12-11T15:07:02.974" v="382"/>
          <ac:inkMkLst>
            <pc:docMk/>
            <pc:sldMk cId="946586403" sldId="10484"/>
            <ac:inkMk id="2" creationId="{72D93830-C398-4B5A-8D20-449DBF7AA403}"/>
          </ac:inkMkLst>
        </pc:inkChg>
      </pc:sldChg>
      <pc:sldChg chg="addSp add del">
        <pc:chgData name="Guilherme Maia" userId="fc649a62-ead7-4fa2-a922-e831243cf1e5" providerId="ADAL" clId="{46643E34-627B-436F-AC44-0A197FC529D8}" dt="2019-12-11T15:07:02.974" v="382"/>
        <pc:sldMkLst>
          <pc:docMk/>
          <pc:sldMk cId="3811593456" sldId="10485"/>
        </pc:sldMkLst>
        <pc:inkChg chg="add">
          <ac:chgData name="Guilherme Maia" userId="fc649a62-ead7-4fa2-a922-e831243cf1e5" providerId="ADAL" clId="{46643E34-627B-436F-AC44-0A197FC529D8}" dt="2019-12-11T15:07:02.974" v="382"/>
          <ac:inkMkLst>
            <pc:docMk/>
            <pc:sldMk cId="3811593456" sldId="10485"/>
            <ac:inkMk id="3" creationId="{0219968B-9E1F-492E-8C4E-624DEF190119}"/>
          </ac:inkMkLst>
        </pc:inkChg>
      </pc:sldChg>
      <pc:sldChg chg="modSp">
        <pc:chgData name="Guilherme Maia" userId="fc649a62-ead7-4fa2-a922-e831243cf1e5" providerId="ADAL" clId="{46643E34-627B-436F-AC44-0A197FC529D8}" dt="2019-12-10T16:28:04.874" v="35" actId="6549"/>
        <pc:sldMkLst>
          <pc:docMk/>
          <pc:sldMk cId="825661535" sldId="10491"/>
        </pc:sldMkLst>
        <pc:spChg chg="mod">
          <ac:chgData name="Guilherme Maia" userId="fc649a62-ead7-4fa2-a922-e831243cf1e5" providerId="ADAL" clId="{46643E34-627B-436F-AC44-0A197FC529D8}" dt="2019-12-10T16:28:04.874" v="35" actId="6549"/>
          <ac:spMkLst>
            <pc:docMk/>
            <pc:sldMk cId="825661535" sldId="10491"/>
            <ac:spMk id="2" creationId="{00000000-0000-0000-0000-000000000000}"/>
          </ac:spMkLst>
        </pc:spChg>
      </pc:sldChg>
      <pc:sldChg chg="modSp">
        <pc:chgData name="Guilherme Maia" userId="fc649a62-ead7-4fa2-a922-e831243cf1e5" providerId="ADAL" clId="{46643E34-627B-436F-AC44-0A197FC529D8}" dt="2019-12-10T16:27:49.186" v="9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46643E34-627B-436F-AC44-0A197FC529D8}" dt="2019-12-10T16:27:49.186" v="9" actId="20577"/>
          <ac:spMkLst>
            <pc:docMk/>
            <pc:sldMk cId="2796991040" sldId="10494"/>
            <ac:spMk id="2" creationId="{00000000-0000-0000-0000-000000000000}"/>
          </ac:spMkLst>
        </pc:spChg>
      </pc:sldChg>
      <pc:sldChg chg="addSp modSp modAnim">
        <pc:chgData name="Guilherme Maia" userId="fc649a62-ead7-4fa2-a922-e831243cf1e5" providerId="ADAL" clId="{46643E34-627B-436F-AC44-0A197FC529D8}" dt="2019-12-11T15:07:02.974" v="382"/>
        <pc:sldMkLst>
          <pc:docMk/>
          <pc:sldMk cId="2795239469" sldId="10496"/>
        </pc:sldMkLst>
        <pc:spChg chg="mod">
          <ac:chgData name="Guilherme Maia" userId="fc649a62-ead7-4fa2-a922-e831243cf1e5" providerId="ADAL" clId="{46643E34-627B-436F-AC44-0A197FC529D8}" dt="2019-12-11T00:10:31.865" v="144" actId="20577"/>
          <ac:spMkLst>
            <pc:docMk/>
            <pc:sldMk cId="2795239469" sldId="10496"/>
            <ac:spMk id="2" creationId="{00000000-0000-0000-0000-000000000000}"/>
          </ac:spMkLst>
        </pc:spChg>
        <pc:inkChg chg="add">
          <ac:chgData name="Guilherme Maia" userId="fc649a62-ead7-4fa2-a922-e831243cf1e5" providerId="ADAL" clId="{46643E34-627B-436F-AC44-0A197FC529D8}" dt="2019-12-11T15:07:02.974" v="382"/>
          <ac:inkMkLst>
            <pc:docMk/>
            <pc:sldMk cId="2795239469" sldId="10496"/>
            <ac:inkMk id="4" creationId="{E05B45A4-74CC-4FC9-A622-9522B4F62411}"/>
          </ac:inkMkLst>
        </pc:inkChg>
      </pc:sldChg>
      <pc:sldChg chg="ord modTransition">
        <pc:chgData name="Guilherme Maia" userId="fc649a62-ead7-4fa2-a922-e831243cf1e5" providerId="ADAL" clId="{46643E34-627B-436F-AC44-0A197FC529D8}" dt="2019-12-11T15:37:37.399" v="397"/>
        <pc:sldMkLst>
          <pc:docMk/>
          <pc:sldMk cId="779464963" sldId="10497"/>
        </pc:sldMkLst>
      </pc:sldChg>
      <pc:sldChg chg="del">
        <pc:chgData name="Guilherme Maia" userId="fc649a62-ead7-4fa2-a922-e831243cf1e5" providerId="ADAL" clId="{46643E34-627B-436F-AC44-0A197FC529D8}" dt="2019-12-11T00:10:03.320" v="93" actId="47"/>
        <pc:sldMkLst>
          <pc:docMk/>
          <pc:sldMk cId="3478078816" sldId="10627"/>
        </pc:sldMkLst>
      </pc:sldChg>
      <pc:sldChg chg="modSp">
        <pc:chgData name="Guilherme Maia" userId="fc649a62-ead7-4fa2-a922-e831243cf1e5" providerId="ADAL" clId="{46643E34-627B-436F-AC44-0A197FC529D8}" dt="2019-12-11T00:09:56.005" v="92" actId="20577"/>
        <pc:sldMkLst>
          <pc:docMk/>
          <pc:sldMk cId="1715339790" sldId="10628"/>
        </pc:sldMkLst>
        <pc:spChg chg="mod">
          <ac:chgData name="Guilherme Maia" userId="fc649a62-ead7-4fa2-a922-e831243cf1e5" providerId="ADAL" clId="{46643E34-627B-436F-AC44-0A197FC529D8}" dt="2019-12-11T00:09:56.005" v="92" actId="20577"/>
          <ac:spMkLst>
            <pc:docMk/>
            <pc:sldMk cId="1715339790" sldId="10628"/>
            <ac:spMk id="2" creationId="{00000000-0000-0000-0000-000000000000}"/>
          </ac:spMkLst>
        </pc:spChg>
      </pc:sldChg>
      <pc:sldChg chg="addSp delSp modSp add ord modAnim">
        <pc:chgData name="Guilherme Maia" userId="fc649a62-ead7-4fa2-a922-e831243cf1e5" providerId="ADAL" clId="{46643E34-627B-436F-AC44-0A197FC529D8}" dt="2019-12-11T15:37:01.123" v="390" actId="478"/>
        <pc:sldMkLst>
          <pc:docMk/>
          <pc:sldMk cId="1154548245" sldId="10629"/>
        </pc:sldMkLst>
        <pc:spChg chg="mod">
          <ac:chgData name="Guilherme Maia" userId="fc649a62-ead7-4fa2-a922-e831243cf1e5" providerId="ADAL" clId="{46643E34-627B-436F-AC44-0A197FC529D8}" dt="2019-12-11T00:34:01.061" v="381" actId="6549"/>
          <ac:spMkLst>
            <pc:docMk/>
            <pc:sldMk cId="1154548245" sldId="10629"/>
            <ac:spMk id="2" creationId="{00000000-0000-0000-0000-000000000000}"/>
          </ac:spMkLst>
        </pc:spChg>
        <pc:inkChg chg="add del">
          <ac:chgData name="Guilherme Maia" userId="fc649a62-ead7-4fa2-a922-e831243cf1e5" providerId="ADAL" clId="{46643E34-627B-436F-AC44-0A197FC529D8}" dt="2019-12-11T15:37:01.123" v="390" actId="478"/>
          <ac:inkMkLst>
            <pc:docMk/>
            <pc:sldMk cId="1154548245" sldId="10629"/>
            <ac:inkMk id="4" creationId="{9B51E428-F772-4A45-9DEE-0F7595ECE8AA}"/>
          </ac:inkMkLst>
        </pc:inkChg>
      </pc:sldChg>
      <pc:sldMasterChg chg="delSldLayout">
        <pc:chgData name="Guilherme Maia" userId="fc649a62-ead7-4fa2-a922-e831243cf1e5" providerId="ADAL" clId="{46643E34-627B-436F-AC44-0A197FC529D8}" dt="2019-12-11T00:32:47.701" v="187" actId="47"/>
        <pc:sldMasterMkLst>
          <pc:docMk/>
          <pc:sldMasterMk cId="1042435122" sldId="2147484103"/>
        </pc:sldMasterMkLst>
        <pc:sldLayoutChg chg="del">
          <pc:chgData name="Guilherme Maia" userId="fc649a62-ead7-4fa2-a922-e831243cf1e5" providerId="ADAL" clId="{46643E34-627B-436F-AC44-0A197FC529D8}" dt="2019-12-11T00:10:08.142" v="94" actId="47"/>
          <pc:sldLayoutMkLst>
            <pc:docMk/>
            <pc:sldMasterMk cId="1042435122" sldId="2147484103"/>
            <pc:sldLayoutMk cId="1615656569" sldId="2147484150"/>
          </pc:sldLayoutMkLst>
        </pc:sldLayoutChg>
        <pc:sldLayoutChg chg="del">
          <pc:chgData name="Guilherme Maia" userId="fc649a62-ead7-4fa2-a922-e831243cf1e5" providerId="ADAL" clId="{46643E34-627B-436F-AC44-0A197FC529D8}" dt="2019-12-11T00:10:08.142" v="94" actId="47"/>
          <pc:sldLayoutMkLst>
            <pc:docMk/>
            <pc:sldMasterMk cId="1042435122" sldId="2147484103"/>
            <pc:sldLayoutMk cId="2529226088" sldId="2147484172"/>
          </pc:sldLayoutMkLst>
        </pc:sldLayoutChg>
        <pc:sldLayoutChg chg="del">
          <pc:chgData name="Guilherme Maia" userId="fc649a62-ead7-4fa2-a922-e831243cf1e5" providerId="ADAL" clId="{46643E34-627B-436F-AC44-0A197FC529D8}" dt="2019-12-11T00:32:47.701" v="187" actId="47"/>
          <pc:sldLayoutMkLst>
            <pc:docMk/>
            <pc:sldMasterMk cId="1042435122" sldId="2147484103"/>
            <pc:sldLayoutMk cId="1323612702" sldId="2147484183"/>
          </pc:sldLayoutMkLst>
        </pc:sldLayoutChg>
        <pc:sldLayoutChg chg="del">
          <pc:chgData name="Guilherme Maia" userId="fc649a62-ead7-4fa2-a922-e831243cf1e5" providerId="ADAL" clId="{46643E34-627B-436F-AC44-0A197FC529D8}" dt="2019-12-11T00:09:40.795" v="80" actId="47"/>
          <pc:sldLayoutMkLst>
            <pc:docMk/>
            <pc:sldMasterMk cId="1042435122" sldId="2147484103"/>
            <pc:sldLayoutMk cId="3637321341" sldId="2147484185"/>
          </pc:sldLayoutMkLst>
        </pc:sldLayoutChg>
        <pc:sldLayoutChg chg="del">
          <pc:chgData name="Guilherme Maia" userId="fc649a62-ead7-4fa2-a922-e831243cf1e5" providerId="ADAL" clId="{46643E34-627B-436F-AC44-0A197FC529D8}" dt="2019-12-11T00:09:40.795" v="80" actId="47"/>
          <pc:sldLayoutMkLst>
            <pc:docMk/>
            <pc:sldMasterMk cId="1042435122" sldId="2147484103"/>
            <pc:sldLayoutMk cId="2339176868" sldId="2147484186"/>
          </pc:sldLayoutMkLst>
        </pc:sldLayoutChg>
        <pc:sldLayoutChg chg="del">
          <pc:chgData name="Guilherme Maia" userId="fc649a62-ead7-4fa2-a922-e831243cf1e5" providerId="ADAL" clId="{46643E34-627B-436F-AC44-0A197FC529D8}" dt="2019-12-11T00:10:08.142" v="94" actId="47"/>
          <pc:sldLayoutMkLst>
            <pc:docMk/>
            <pc:sldMasterMk cId="1042435122" sldId="2147484103"/>
            <pc:sldLayoutMk cId="335458029" sldId="2147484187"/>
          </pc:sldLayoutMkLst>
        </pc:sldLayoutChg>
      </pc:sldMasterChg>
    </pc:docChg>
  </pc:docChgLst>
  <pc:docChgLst>
    <pc:chgData name="Guilherme Maia" userId="fc649a62-ead7-4fa2-a922-e831243cf1e5" providerId="ADAL" clId="{55C33721-C3E3-4D2E-9E1E-F21DE77D4985}"/>
    <pc:docChg chg="custSel addSld delSld modSld sldOrd">
      <pc:chgData name="Guilherme Maia" userId="fc649a62-ead7-4fa2-a922-e831243cf1e5" providerId="ADAL" clId="{55C33721-C3E3-4D2E-9E1E-F21DE77D4985}" dt="2020-01-09T04:49:38.663" v="232"/>
      <pc:docMkLst>
        <pc:docMk/>
      </pc:docMkLst>
      <pc:sldChg chg="modSp">
        <pc:chgData name="Guilherme Maia" userId="fc649a62-ead7-4fa2-a922-e831243cf1e5" providerId="ADAL" clId="{55C33721-C3E3-4D2E-9E1E-F21DE77D4985}" dt="2020-01-08T23:28:44.865" v="50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55C33721-C3E3-4D2E-9E1E-F21DE77D4985}" dt="2020-01-08T23:28:44.865" v="50" actId="20577"/>
          <ac:spMkLst>
            <pc:docMk/>
            <pc:sldMk cId="2796991040" sldId="10494"/>
            <ac:spMk id="2" creationId="{00000000-0000-0000-0000-000000000000}"/>
          </ac:spMkLst>
        </pc:spChg>
      </pc:sldChg>
      <pc:sldChg chg="addSp delSp modSp del">
        <pc:chgData name="Guilherme Maia" userId="fc649a62-ead7-4fa2-a922-e831243cf1e5" providerId="ADAL" clId="{55C33721-C3E3-4D2E-9E1E-F21DE77D4985}" dt="2020-01-09T01:02:38.461" v="55" actId="47"/>
        <pc:sldMkLst>
          <pc:docMk/>
          <pc:sldMk cId="4230357545" sldId="10503"/>
        </pc:sldMkLst>
        <pc:picChg chg="add mod">
          <ac:chgData name="Guilherme Maia" userId="fc649a62-ead7-4fa2-a922-e831243cf1e5" providerId="ADAL" clId="{55C33721-C3E3-4D2E-9E1E-F21DE77D4985}" dt="2020-01-08T23:27:23.275" v="6" actId="1076"/>
          <ac:picMkLst>
            <pc:docMk/>
            <pc:sldMk cId="4230357545" sldId="10503"/>
            <ac:picMk id="2" creationId="{B2D6B852-6FE8-42DA-83E6-A83F6ECD93CA}"/>
          </ac:picMkLst>
        </pc:picChg>
        <pc:picChg chg="del">
          <ac:chgData name="Guilherme Maia" userId="fc649a62-ead7-4fa2-a922-e831243cf1e5" providerId="ADAL" clId="{55C33721-C3E3-4D2E-9E1E-F21DE77D4985}" dt="2020-01-08T23:26:45.127" v="3" actId="478"/>
          <ac:picMkLst>
            <pc:docMk/>
            <pc:sldMk cId="4230357545" sldId="10503"/>
            <ac:picMk id="4" creationId="{55D1F1DC-4E83-4014-9A53-E45B770DDF01}"/>
          </ac:picMkLst>
        </pc:picChg>
      </pc:sldChg>
      <pc:sldChg chg="modSp">
        <pc:chgData name="Guilherme Maia" userId="fc649a62-ead7-4fa2-a922-e831243cf1e5" providerId="ADAL" clId="{55C33721-C3E3-4D2E-9E1E-F21DE77D4985}" dt="2020-01-09T01:42:55.975" v="100" actId="6549"/>
        <pc:sldMkLst>
          <pc:docMk/>
          <pc:sldMk cId="2059311619" sldId="10505"/>
        </pc:sldMkLst>
        <pc:spChg chg="mod">
          <ac:chgData name="Guilherme Maia" userId="fc649a62-ead7-4fa2-a922-e831243cf1e5" providerId="ADAL" clId="{55C33721-C3E3-4D2E-9E1E-F21DE77D4985}" dt="2020-01-09T01:42:55.975" v="100" actId="6549"/>
          <ac:spMkLst>
            <pc:docMk/>
            <pc:sldMk cId="2059311619" sldId="10505"/>
            <ac:spMk id="2" creationId="{00000000-0000-0000-0000-000000000000}"/>
          </ac:spMkLst>
        </pc:spChg>
      </pc:sldChg>
      <pc:sldChg chg="addSp delSp modSp add modAnim">
        <pc:chgData name="Guilherme Maia" userId="fc649a62-ead7-4fa2-a922-e831243cf1e5" providerId="ADAL" clId="{55C33721-C3E3-4D2E-9E1E-F21DE77D4985}" dt="2020-01-08T23:28:09.728" v="49" actId="1076"/>
        <pc:sldMkLst>
          <pc:docMk/>
          <pc:sldMk cId="1080563655" sldId="10506"/>
        </pc:sldMkLst>
        <pc:spChg chg="mod">
          <ac:chgData name="Guilherme Maia" userId="fc649a62-ead7-4fa2-a922-e831243cf1e5" providerId="ADAL" clId="{55C33721-C3E3-4D2E-9E1E-F21DE77D4985}" dt="2020-01-08T23:27:45.587" v="46" actId="20577"/>
          <ac:spMkLst>
            <pc:docMk/>
            <pc:sldMk cId="1080563655" sldId="10506"/>
            <ac:spMk id="6" creationId="{6C4B82A4-D858-4A1D-8490-25EE5A400A24}"/>
          </ac:spMkLst>
        </pc:spChg>
        <pc:picChg chg="del">
          <ac:chgData name="Guilherme Maia" userId="fc649a62-ead7-4fa2-a922-e831243cf1e5" providerId="ADAL" clId="{55C33721-C3E3-4D2E-9E1E-F21DE77D4985}" dt="2020-01-08T23:28:07.903" v="47" actId="478"/>
          <ac:picMkLst>
            <pc:docMk/>
            <pc:sldMk cId="1080563655" sldId="10506"/>
            <ac:picMk id="2" creationId="{B2D6B852-6FE8-42DA-83E6-A83F6ECD93CA}"/>
          </ac:picMkLst>
        </pc:picChg>
        <pc:picChg chg="add mod">
          <ac:chgData name="Guilherme Maia" userId="fc649a62-ead7-4fa2-a922-e831243cf1e5" providerId="ADAL" clId="{55C33721-C3E3-4D2E-9E1E-F21DE77D4985}" dt="2020-01-08T23:28:09.728" v="49" actId="1076"/>
          <ac:picMkLst>
            <pc:docMk/>
            <pc:sldMk cId="1080563655" sldId="10506"/>
            <ac:picMk id="4" creationId="{4502E65B-1FB8-4D4C-9289-1559E6C9F413}"/>
          </ac:picMkLst>
        </pc:picChg>
      </pc:sldChg>
      <pc:sldChg chg="add ord">
        <pc:chgData name="Guilherme Maia" userId="fc649a62-ead7-4fa2-a922-e831243cf1e5" providerId="ADAL" clId="{55C33721-C3E3-4D2E-9E1E-F21DE77D4985}" dt="2020-01-09T01:02:30.170" v="53"/>
        <pc:sldMkLst>
          <pc:docMk/>
          <pc:sldMk cId="1727070489" sldId="10507"/>
        </pc:sldMkLst>
      </pc:sldChg>
      <pc:sldChg chg="modSp add modAnim">
        <pc:chgData name="Guilherme Maia" userId="fc649a62-ead7-4fa2-a922-e831243cf1e5" providerId="ADAL" clId="{55C33721-C3E3-4D2E-9E1E-F21DE77D4985}" dt="2020-01-09T01:02:47.539" v="80" actId="1076"/>
        <pc:sldMkLst>
          <pc:docMk/>
          <pc:sldMk cId="140721528" sldId="10508"/>
        </pc:sldMkLst>
        <pc:spChg chg="mod">
          <ac:chgData name="Guilherme Maia" userId="fc649a62-ead7-4fa2-a922-e831243cf1e5" providerId="ADAL" clId="{55C33721-C3E3-4D2E-9E1E-F21DE77D4985}" dt="2020-01-09T01:02:47.539" v="80" actId="1076"/>
          <ac:spMkLst>
            <pc:docMk/>
            <pc:sldMk cId="140721528" sldId="10508"/>
            <ac:spMk id="2" creationId="{00000000-0000-0000-0000-000000000000}"/>
          </ac:spMkLst>
        </pc:spChg>
      </pc:sldChg>
      <pc:sldChg chg="modSp add modAnim">
        <pc:chgData name="Guilherme Maia" userId="fc649a62-ead7-4fa2-a922-e831243cf1e5" providerId="ADAL" clId="{55C33721-C3E3-4D2E-9E1E-F21DE77D4985}" dt="2020-01-09T04:48:43.561" v="144" actId="20577"/>
        <pc:sldMkLst>
          <pc:docMk/>
          <pc:sldMk cId="1786547053" sldId="10509"/>
        </pc:sldMkLst>
        <pc:spChg chg="mod">
          <ac:chgData name="Guilherme Maia" userId="fc649a62-ead7-4fa2-a922-e831243cf1e5" providerId="ADAL" clId="{55C33721-C3E3-4D2E-9E1E-F21DE77D4985}" dt="2020-01-09T04:48:43.561" v="144" actId="20577"/>
          <ac:spMkLst>
            <pc:docMk/>
            <pc:sldMk cId="1786547053" sldId="10509"/>
            <ac:spMk id="2" creationId="{00000000-0000-0000-0000-000000000000}"/>
          </ac:spMkLst>
        </pc:spChg>
      </pc:sldChg>
      <pc:sldChg chg="add">
        <pc:chgData name="Guilherme Maia" userId="fc649a62-ead7-4fa2-a922-e831243cf1e5" providerId="ADAL" clId="{55C33721-C3E3-4D2E-9E1E-F21DE77D4985}" dt="2020-01-09T04:48:57.612" v="145"/>
        <pc:sldMkLst>
          <pc:docMk/>
          <pc:sldMk cId="1348076783" sldId="10510"/>
        </pc:sldMkLst>
      </pc:sldChg>
      <pc:sldChg chg="modSp add ord modAnim">
        <pc:chgData name="Guilherme Maia" userId="fc649a62-ead7-4fa2-a922-e831243cf1e5" providerId="ADAL" clId="{55C33721-C3E3-4D2E-9E1E-F21DE77D4985}" dt="2020-01-09T04:49:38.663" v="232"/>
        <pc:sldMkLst>
          <pc:docMk/>
          <pc:sldMk cId="169044592" sldId="10511"/>
        </pc:sldMkLst>
        <pc:spChg chg="mod">
          <ac:chgData name="Guilherme Maia" userId="fc649a62-ead7-4fa2-a922-e831243cf1e5" providerId="ADAL" clId="{55C33721-C3E3-4D2E-9E1E-F21DE77D4985}" dt="2020-01-09T04:49:29.805" v="230" actId="20577"/>
          <ac:spMkLst>
            <pc:docMk/>
            <pc:sldMk cId="169044592" sldId="10511"/>
            <ac:spMk id="2" creationId="{00000000-0000-0000-0000-000000000000}"/>
          </ac:spMkLst>
        </pc:spChg>
      </pc:sldChg>
    </pc:docChg>
  </pc:docChgLst>
  <pc:docChgLst>
    <pc:chgData name="Guilherme Maia" userId="fc649a62-ead7-4fa2-a922-e831243cf1e5" providerId="ADAL" clId="{5B731FE2-4D3B-4BA0-B1CA-B005C2C9A0D4}"/>
    <pc:docChg chg="undo redo custSel addSld delSld modSld sldOrd">
      <pc:chgData name="Guilherme Maia" userId="fc649a62-ead7-4fa2-a922-e831243cf1e5" providerId="ADAL" clId="{5B731FE2-4D3B-4BA0-B1CA-B005C2C9A0D4}" dt="2019-11-27T00:47:07.117" v="423"/>
      <pc:docMkLst>
        <pc:docMk/>
      </pc:docMkLst>
      <pc:sldChg chg="addSp delSp modSp add ord">
        <pc:chgData name="Guilherme Maia" userId="fc649a62-ead7-4fa2-a922-e831243cf1e5" providerId="ADAL" clId="{5B731FE2-4D3B-4BA0-B1CA-B005C2C9A0D4}" dt="2019-11-27T00:47:01.690" v="422"/>
        <pc:sldMkLst>
          <pc:docMk/>
          <pc:sldMk cId="1391010459" sldId="261"/>
        </pc:sldMkLst>
        <pc:spChg chg="del mod">
          <ac:chgData name="Guilherme Maia" userId="fc649a62-ead7-4fa2-a922-e831243cf1e5" providerId="ADAL" clId="{5B731FE2-4D3B-4BA0-B1CA-B005C2C9A0D4}" dt="2019-11-27T00:26:57.003" v="401" actId="478"/>
          <ac:spMkLst>
            <pc:docMk/>
            <pc:sldMk cId="1391010459" sldId="261"/>
            <ac:spMk id="2" creationId="{00000000-0000-0000-0000-000000000000}"/>
          </ac:spMkLst>
        </pc:spChg>
        <pc:spChg chg="add del mod">
          <ac:chgData name="Guilherme Maia" userId="fc649a62-ead7-4fa2-a922-e831243cf1e5" providerId="ADAL" clId="{5B731FE2-4D3B-4BA0-B1CA-B005C2C9A0D4}" dt="2019-11-27T00:26:59.945" v="403" actId="478"/>
          <ac:spMkLst>
            <pc:docMk/>
            <pc:sldMk cId="1391010459" sldId="261"/>
            <ac:spMk id="4" creationId="{0B3E995F-3530-4BE5-B26C-A5ED16131CFC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1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1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1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1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5.360" v="404" actId="2711"/>
          <ac:spMkLst>
            <pc:docMk/>
            <pc:sldMk cId="1391010459" sldId="261"/>
            <ac:spMk id="1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5.360" v="404" actId="2711"/>
          <ac:spMkLst>
            <pc:docMk/>
            <pc:sldMk cId="1391010459" sldId="261"/>
            <ac:spMk id="1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8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31" creationId="{53E2EACF-B41F-405E-8474-909A86CDB6CD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3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3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3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2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2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07.058" v="405" actId="207"/>
          <ac:spMkLst>
            <pc:docMk/>
            <pc:sldMk cId="1391010459" sldId="261"/>
            <ac:spMk id="222" creationId="{00000000-0000-0000-0000-000000000000}"/>
          </ac:spMkLst>
        </pc:spChg>
        <pc:grpChg chg="mod">
          <ac:chgData name="Guilherme Maia" userId="fc649a62-ead7-4fa2-a922-e831243cf1e5" providerId="ADAL" clId="{5B731FE2-4D3B-4BA0-B1CA-B005C2C9A0D4}" dt="2019-11-27T00:27:07.058" v="405" actId="207"/>
          <ac:grpSpMkLst>
            <pc:docMk/>
            <pc:sldMk cId="1391010459" sldId="261"/>
            <ac:grpSpMk id="17" creationId="{00000000-0000-0000-0000-000000000000}"/>
          </ac:grpSpMkLst>
        </pc:grpChg>
        <pc:grpChg chg="mod">
          <ac:chgData name="Guilherme Maia" userId="fc649a62-ead7-4fa2-a922-e831243cf1e5" providerId="ADAL" clId="{5B731FE2-4D3B-4BA0-B1CA-B005C2C9A0D4}" dt="2019-11-27T00:27:07.058" v="405" actId="207"/>
          <ac:grpSpMkLst>
            <pc:docMk/>
            <pc:sldMk cId="1391010459" sldId="261"/>
            <ac:grpSpMk id="18" creationId="{00000000-0000-0000-0000-000000000000}"/>
          </ac:grpSpMkLst>
        </pc:grpChg>
      </pc:sldChg>
      <pc:sldChg chg="addSp delSp modSp add">
        <pc:chgData name="Guilherme Maia" userId="fc649a62-ead7-4fa2-a922-e831243cf1e5" providerId="ADAL" clId="{5B731FE2-4D3B-4BA0-B1CA-B005C2C9A0D4}" dt="2019-11-27T00:27:30.824" v="412" actId="2711"/>
        <pc:sldMkLst>
          <pc:docMk/>
          <pc:sldMk cId="3765704063" sldId="262"/>
        </pc:sldMkLst>
        <pc:spChg chg="del mod">
          <ac:chgData name="Guilherme Maia" userId="fc649a62-ead7-4fa2-a922-e831243cf1e5" providerId="ADAL" clId="{5B731FE2-4D3B-4BA0-B1CA-B005C2C9A0D4}" dt="2019-11-27T00:27:24.157" v="409" actId="478"/>
          <ac:spMkLst>
            <pc:docMk/>
            <pc:sldMk cId="3765704063" sldId="262"/>
            <ac:spMk id="3" creationId="{00000000-0000-0000-0000-000000000000}"/>
          </ac:spMkLst>
        </pc:spChg>
        <pc:spChg chg="add del mod">
          <ac:chgData name="Guilherme Maia" userId="fc649a62-ead7-4fa2-a922-e831243cf1e5" providerId="ADAL" clId="{5B731FE2-4D3B-4BA0-B1CA-B005C2C9A0D4}" dt="2019-11-27T00:27:26.519" v="411" actId="478"/>
          <ac:spMkLst>
            <pc:docMk/>
            <pc:sldMk cId="3765704063" sldId="262"/>
            <ac:spMk id="4" creationId="{656AB62A-5146-48E1-BA49-A7EC8019FF6B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1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1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1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1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2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2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2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2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3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4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4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43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7:30.824" v="412" actId="2711"/>
          <ac:spMkLst>
            <pc:docMk/>
            <pc:sldMk cId="3765704063" sldId="262"/>
            <ac:spMk id="44" creationId="{9B707287-615C-44D4-90B7-D32E63C1726F}"/>
          </ac:spMkLst>
        </pc:spChg>
      </pc:sldChg>
      <pc:sldChg chg="addSp delSp modSp add ord">
        <pc:chgData name="Guilherme Maia" userId="fc649a62-ead7-4fa2-a922-e831243cf1e5" providerId="ADAL" clId="{5B731FE2-4D3B-4BA0-B1CA-B005C2C9A0D4}" dt="2019-11-27T00:24:23.090" v="370" actId="478"/>
        <pc:sldMkLst>
          <pc:docMk/>
          <pc:sldMk cId="2181715546" sldId="296"/>
        </pc:sldMkLst>
        <pc:spChg chg="del mod">
          <ac:chgData name="Guilherme Maia" userId="fc649a62-ead7-4fa2-a922-e831243cf1e5" providerId="ADAL" clId="{5B731FE2-4D3B-4BA0-B1CA-B005C2C9A0D4}" dt="2019-11-27T00:24:23.090" v="370" actId="478"/>
          <ac:spMkLst>
            <pc:docMk/>
            <pc:sldMk cId="2181715546" sldId="296"/>
            <ac:spMk id="2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4:23.090" v="370" actId="478"/>
          <ac:spMkLst>
            <pc:docMk/>
            <pc:sldMk cId="2181715546" sldId="296"/>
            <ac:spMk id="4" creationId="{87987E94-EEFA-4538-8336-F757C5B39C5B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4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4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4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4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5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6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7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7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7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2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4:18.057" v="366" actId="27636"/>
          <ac:spMkLst>
            <pc:docMk/>
            <pc:sldMk cId="2181715546" sldId="296"/>
            <ac:spMk id="83" creationId="{64C6BE5D-E801-40DE-90A7-F8A77C008F12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8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9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0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1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1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1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4:10.581" v="363" actId="2711"/>
          <ac:spMkLst>
            <pc:docMk/>
            <pc:sldMk cId="2181715546" sldId="296"/>
            <ac:spMk id="115" creationId="{00000000-0000-0000-0000-000000000000}"/>
          </ac:spMkLst>
        </pc:spChg>
        <pc:grpChg chg="mod">
          <ac:chgData name="Guilherme Maia" userId="fc649a62-ead7-4fa2-a922-e831243cf1e5" providerId="ADAL" clId="{5B731FE2-4D3B-4BA0-B1CA-B005C2C9A0D4}" dt="2019-11-27T00:24:20.767" v="368" actId="1076"/>
          <ac:grpSpMkLst>
            <pc:docMk/>
            <pc:sldMk cId="2181715546" sldId="296"/>
            <ac:grpSpMk id="14" creationId="{00000000-0000-0000-0000-000000000000}"/>
          </ac:grpSpMkLst>
        </pc:grpChg>
      </pc:sldChg>
      <pc:sldChg chg="addSp delSp modSp add">
        <pc:chgData name="Guilherme Maia" userId="fc649a62-ead7-4fa2-a922-e831243cf1e5" providerId="ADAL" clId="{5B731FE2-4D3B-4BA0-B1CA-B005C2C9A0D4}" dt="2019-11-27T00:25:26.633" v="382" actId="478"/>
        <pc:sldMkLst>
          <pc:docMk/>
          <pc:sldMk cId="1342754697" sldId="372"/>
        </pc:sldMkLst>
        <pc:spChg chg="add del">
          <ac:chgData name="Guilherme Maia" userId="fc649a62-ead7-4fa2-a922-e831243cf1e5" providerId="ADAL" clId="{5B731FE2-4D3B-4BA0-B1CA-B005C2C9A0D4}" dt="2019-11-27T00:24:56.426" v="375"/>
          <ac:spMkLst>
            <pc:docMk/>
            <pc:sldMk cId="1342754697" sldId="372"/>
            <ac:spMk id="2" creationId="{C836F521-F860-4BDE-9674-6C6802324BA5}"/>
          </ac:spMkLst>
        </pc:spChg>
        <pc:spChg chg="del mod">
          <ac:chgData name="Guilherme Maia" userId="fc649a62-ead7-4fa2-a922-e831243cf1e5" providerId="ADAL" clId="{5B731FE2-4D3B-4BA0-B1CA-B005C2C9A0D4}" dt="2019-11-27T00:25:07.891" v="379" actId="478"/>
          <ac:spMkLst>
            <pc:docMk/>
            <pc:sldMk cId="1342754697" sldId="372"/>
            <ac:spMk id="3" creationId="{00000000-0000-0000-0000-000000000000}"/>
          </ac:spMkLst>
        </pc:spChg>
        <pc:spChg chg="add del mod">
          <ac:chgData name="Guilherme Maia" userId="fc649a62-ead7-4fa2-a922-e831243cf1e5" providerId="ADAL" clId="{5B731FE2-4D3B-4BA0-B1CA-B005C2C9A0D4}" dt="2019-11-27T00:25:26.633" v="382" actId="478"/>
          <ac:spMkLst>
            <pc:docMk/>
            <pc:sldMk cId="1342754697" sldId="372"/>
            <ac:spMk id="5" creationId="{3F5E0CEC-A5A1-4D7E-BF03-4C16490CA7A6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45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46" creationId="{DAC1EDB2-3ADE-4B67-904B-BB5C6EFA8312}"/>
          </ac:spMkLst>
        </pc:spChg>
        <pc:spChg chg="mod">
          <ac:chgData name="Guilherme Maia" userId="fc649a62-ead7-4fa2-a922-e831243cf1e5" providerId="ADAL" clId="{5B731FE2-4D3B-4BA0-B1CA-B005C2C9A0D4}" dt="2019-11-27T00:25:17.517" v="381" actId="207"/>
          <ac:spMkLst>
            <pc:docMk/>
            <pc:sldMk cId="1342754697" sldId="372"/>
            <ac:spMk id="5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6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6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7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8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9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10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10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10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10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5:15.116" v="380" actId="2711"/>
          <ac:spMkLst>
            <pc:docMk/>
            <pc:sldMk cId="1342754697" sldId="372"/>
            <ac:spMk id="104" creationId="{00000000-0000-0000-0000-000000000000}"/>
          </ac:spMkLst>
        </pc:spChg>
      </pc:sldChg>
      <pc:sldChg chg="addSp delSp modSp add">
        <pc:chgData name="Guilherme Maia" userId="fc649a62-ead7-4fa2-a922-e831243cf1e5" providerId="ADAL" clId="{5B731FE2-4D3B-4BA0-B1CA-B005C2C9A0D4}" dt="2019-11-27T00:23:09.793" v="353" actId="2711"/>
        <pc:sldMkLst>
          <pc:docMk/>
          <pc:sldMk cId="1290651876" sldId="534"/>
        </pc:sldMkLst>
        <pc:spChg chg="del mod">
          <ac:chgData name="Guilherme Maia" userId="fc649a62-ead7-4fa2-a922-e831243cf1e5" providerId="ADAL" clId="{5B731FE2-4D3B-4BA0-B1CA-B005C2C9A0D4}" dt="2019-11-27T00:23:02.716" v="349" actId="478"/>
          <ac:spMkLst>
            <pc:docMk/>
            <pc:sldMk cId="1290651876" sldId="534"/>
            <ac:spMk id="3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3:09.793" v="353" actId="2711"/>
          <ac:spMkLst>
            <pc:docMk/>
            <pc:sldMk cId="1290651876" sldId="534"/>
            <ac:spMk id="4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3:09.793" v="353" actId="2711"/>
          <ac:spMkLst>
            <pc:docMk/>
            <pc:sldMk cId="1290651876" sldId="534"/>
            <ac:spMk id="6" creationId="{F1225255-0CC1-4144-9DCC-DC322A79AD06}"/>
          </ac:spMkLst>
        </pc:spChg>
        <pc:spChg chg="add del mod">
          <ac:chgData name="Guilherme Maia" userId="fc649a62-ead7-4fa2-a922-e831243cf1e5" providerId="ADAL" clId="{5B731FE2-4D3B-4BA0-B1CA-B005C2C9A0D4}" dt="2019-11-27T00:23:05.496" v="352" actId="478"/>
          <ac:spMkLst>
            <pc:docMk/>
            <pc:sldMk cId="1290651876" sldId="534"/>
            <ac:spMk id="7" creationId="{33CD841B-15AC-4DE1-9ED4-40910AAB05ED}"/>
          </ac:spMkLst>
        </pc:spChg>
      </pc:sldChg>
      <pc:sldChg chg="addSp delSp modSp add">
        <pc:chgData name="Guilherme Maia" userId="fc649a62-ead7-4fa2-a922-e831243cf1e5" providerId="ADAL" clId="{5B731FE2-4D3B-4BA0-B1CA-B005C2C9A0D4}" dt="2019-11-27T00:23:25.955" v="359" actId="2711"/>
        <pc:sldMkLst>
          <pc:docMk/>
          <pc:sldMk cId="1002471703" sldId="535"/>
        </pc:sldMkLst>
        <pc:spChg chg="del mod">
          <ac:chgData name="Guilherme Maia" userId="fc649a62-ead7-4fa2-a922-e831243cf1e5" providerId="ADAL" clId="{5B731FE2-4D3B-4BA0-B1CA-B005C2C9A0D4}" dt="2019-11-27T00:23:19.084" v="355" actId="478"/>
          <ac:spMkLst>
            <pc:docMk/>
            <pc:sldMk cId="1002471703" sldId="535"/>
            <ac:spMk id="3" creationId="{00000000-0000-0000-0000-000000000000}"/>
          </ac:spMkLst>
        </pc:spChg>
        <pc:spChg chg="add del mod">
          <ac:chgData name="Guilherme Maia" userId="fc649a62-ead7-4fa2-a922-e831243cf1e5" providerId="ADAL" clId="{5B731FE2-4D3B-4BA0-B1CA-B005C2C9A0D4}" dt="2019-11-27T00:23:21.595" v="358" actId="478"/>
          <ac:spMkLst>
            <pc:docMk/>
            <pc:sldMk cId="1002471703" sldId="535"/>
            <ac:spMk id="4" creationId="{688FE9DB-C136-46AF-89D1-6C9A50D9ABCD}"/>
          </ac:spMkLst>
        </pc:spChg>
        <pc:spChg chg="mod">
          <ac:chgData name="Guilherme Maia" userId="fc649a62-ead7-4fa2-a922-e831243cf1e5" providerId="ADAL" clId="{5B731FE2-4D3B-4BA0-B1CA-B005C2C9A0D4}" dt="2019-11-27T00:23:25.955" v="359" actId="2711"/>
          <ac:spMkLst>
            <pc:docMk/>
            <pc:sldMk cId="1002471703" sldId="535"/>
            <ac:spMk id="8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3:25.955" v="359" actId="2711"/>
          <ac:spMkLst>
            <pc:docMk/>
            <pc:sldMk cId="1002471703" sldId="535"/>
            <ac:spMk id="9" creationId="{00AE58B5-97DA-459D-8515-1D128E9003F9}"/>
          </ac:spMkLst>
        </pc:spChg>
      </pc:sldChg>
      <pc:sldChg chg="addSp delSp modSp add">
        <pc:chgData name="Guilherme Maia" userId="fc649a62-ead7-4fa2-a922-e831243cf1e5" providerId="ADAL" clId="{5B731FE2-4D3B-4BA0-B1CA-B005C2C9A0D4}" dt="2019-11-27T00:25:57.480" v="394" actId="478"/>
        <pc:sldMkLst>
          <pc:docMk/>
          <pc:sldMk cId="2684108945" sldId="553"/>
        </pc:sldMkLst>
        <pc:spChg chg="del mod">
          <ac:chgData name="Guilherme Maia" userId="fc649a62-ead7-4fa2-a922-e831243cf1e5" providerId="ADAL" clId="{5B731FE2-4D3B-4BA0-B1CA-B005C2C9A0D4}" dt="2019-11-27T00:25:43.586" v="388" actId="478"/>
          <ac:spMkLst>
            <pc:docMk/>
            <pc:sldMk cId="2684108945" sldId="553"/>
            <ac:spMk id="3" creationId="{00000000-0000-0000-0000-000000000000}"/>
          </ac:spMkLst>
        </pc:spChg>
        <pc:spChg chg="add del mod">
          <ac:chgData name="Guilherme Maia" userId="fc649a62-ead7-4fa2-a922-e831243cf1e5" providerId="ADAL" clId="{5B731FE2-4D3B-4BA0-B1CA-B005C2C9A0D4}" dt="2019-11-27T00:25:57.480" v="394" actId="478"/>
          <ac:spMkLst>
            <pc:docMk/>
            <pc:sldMk cId="2684108945" sldId="553"/>
            <ac:spMk id="4" creationId="{83C5D83B-3895-4C82-BF9E-55F9533E4544}"/>
          </ac:spMkLst>
        </pc:spChg>
        <pc:spChg chg="add mod">
          <ac:chgData name="Guilherme Maia" userId="fc649a62-ead7-4fa2-a922-e831243cf1e5" providerId="ADAL" clId="{5B731FE2-4D3B-4BA0-B1CA-B005C2C9A0D4}" dt="2019-11-27T00:25:48.497" v="389" actId="2711"/>
          <ac:spMkLst>
            <pc:docMk/>
            <pc:sldMk cId="2684108945" sldId="553"/>
            <ac:spMk id="5" creationId="{74158F1F-99CC-4EDF-8E4C-387F145E3510}"/>
          </ac:spMkLst>
        </pc:spChg>
        <pc:spChg chg="mod">
          <ac:chgData name="Guilherme Maia" userId="fc649a62-ead7-4fa2-a922-e831243cf1e5" providerId="ADAL" clId="{5B731FE2-4D3B-4BA0-B1CA-B005C2C9A0D4}" dt="2019-11-27T00:25:52.951" v="391" actId="404"/>
          <ac:spMkLst>
            <pc:docMk/>
            <pc:sldMk cId="2684108945" sldId="553"/>
            <ac:spMk id="46" creationId="{00000000-0000-0000-0000-000000000000}"/>
          </ac:spMkLst>
        </pc:spChg>
        <pc:picChg chg="mod">
          <ac:chgData name="Guilherme Maia" userId="fc649a62-ead7-4fa2-a922-e831243cf1e5" providerId="ADAL" clId="{5B731FE2-4D3B-4BA0-B1CA-B005C2C9A0D4}" dt="2019-11-27T00:25:55.403" v="392" actId="1076"/>
          <ac:picMkLst>
            <pc:docMk/>
            <pc:sldMk cId="2684108945" sldId="553"/>
            <ac:picMk id="44" creationId="{00000000-0000-0000-0000-000000000000}"/>
          </ac:picMkLst>
        </pc:picChg>
      </pc:sldChg>
      <pc:sldChg chg="addSp delSp modSp ord">
        <pc:chgData name="Guilherme Maia" userId="fc649a62-ead7-4fa2-a922-e831243cf1e5" providerId="ADAL" clId="{5B731FE2-4D3B-4BA0-B1CA-B005C2C9A0D4}" dt="2019-11-27T00:47:07.117" v="423"/>
        <pc:sldMkLst>
          <pc:docMk/>
          <pc:sldMk cId="4157075218" sldId="1464"/>
        </pc:sldMkLst>
        <pc:spChg chg="add del mod">
          <ac:chgData name="Guilherme Maia" userId="fc649a62-ead7-4fa2-a922-e831243cf1e5" providerId="ADAL" clId="{5B731FE2-4D3B-4BA0-B1CA-B005C2C9A0D4}" dt="2019-11-27T00:09:16.701" v="148" actId="478"/>
          <ac:spMkLst>
            <pc:docMk/>
            <pc:sldMk cId="4157075218" sldId="1464"/>
            <ac:spMk id="4" creationId="{5D247A66-CCB6-4F3E-AE42-D903BE0047C0}"/>
          </ac:spMkLst>
        </pc:spChg>
        <pc:spChg chg="add del mod">
          <ac:chgData name="Guilherme Maia" userId="fc649a62-ead7-4fa2-a922-e831243cf1e5" providerId="ADAL" clId="{5B731FE2-4D3B-4BA0-B1CA-B005C2C9A0D4}" dt="2019-11-27T00:09:10.119" v="143" actId="478"/>
          <ac:spMkLst>
            <pc:docMk/>
            <pc:sldMk cId="4157075218" sldId="1464"/>
            <ac:spMk id="8" creationId="{38676177-3C69-433F-83BD-3038831B8F36}"/>
          </ac:spMkLst>
        </pc:spChg>
        <pc:spChg chg="add mod">
          <ac:chgData name="Guilherme Maia" userId="fc649a62-ead7-4fa2-a922-e831243cf1e5" providerId="ADAL" clId="{5B731FE2-4D3B-4BA0-B1CA-B005C2C9A0D4}" dt="2019-11-27T00:09:51.947" v="162" actId="14100"/>
          <ac:spMkLst>
            <pc:docMk/>
            <pc:sldMk cId="4157075218" sldId="1464"/>
            <ac:spMk id="10" creationId="{8C03D99B-0521-44EB-82B2-17D8C0B5EDBB}"/>
          </ac:spMkLst>
        </pc:spChg>
        <pc:spChg chg="mod">
          <ac:chgData name="Guilherme Maia" userId="fc649a62-ead7-4fa2-a922-e831243cf1e5" providerId="ADAL" clId="{5B731FE2-4D3B-4BA0-B1CA-B005C2C9A0D4}" dt="2019-11-27T00:09:24.364" v="149" actId="2711"/>
          <ac:spMkLst>
            <pc:docMk/>
            <pc:sldMk cId="4157075218" sldId="1464"/>
            <ac:spMk id="2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09:24.364" v="149" actId="2711"/>
          <ac:spMkLst>
            <pc:docMk/>
            <pc:sldMk cId="4157075218" sldId="1464"/>
            <ac:spMk id="25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09:24.364" v="149" actId="2711"/>
          <ac:spMkLst>
            <pc:docMk/>
            <pc:sldMk cId="4157075218" sldId="1464"/>
            <ac:spMk id="26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09:24.364" v="149" actId="2711"/>
          <ac:spMkLst>
            <pc:docMk/>
            <pc:sldMk cId="4157075218" sldId="1464"/>
            <ac:spMk id="27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09:24.364" v="149" actId="2711"/>
          <ac:spMkLst>
            <pc:docMk/>
            <pc:sldMk cId="4157075218" sldId="1464"/>
            <ac:spMk id="30" creationId="{81134C48-AB0F-421D-9DB1-18680568A3AD}"/>
          </ac:spMkLst>
        </pc:spChg>
        <pc:picChg chg="del">
          <ac:chgData name="Guilherme Maia" userId="fc649a62-ead7-4fa2-a922-e831243cf1e5" providerId="ADAL" clId="{5B731FE2-4D3B-4BA0-B1CA-B005C2C9A0D4}" dt="2019-11-27T00:08:30.032" v="128" actId="478"/>
          <ac:picMkLst>
            <pc:docMk/>
            <pc:sldMk cId="4157075218" sldId="1464"/>
            <ac:picMk id="2" creationId="{D34B7CB6-BF5B-48F5-8218-AE7134CE2374}"/>
          </ac:picMkLst>
        </pc:picChg>
        <pc:picChg chg="add mod">
          <ac:chgData name="Guilherme Maia" userId="fc649a62-ead7-4fa2-a922-e831243cf1e5" providerId="ADAL" clId="{5B731FE2-4D3B-4BA0-B1CA-B005C2C9A0D4}" dt="2019-11-27T00:09:44.099" v="153" actId="1076"/>
          <ac:picMkLst>
            <pc:docMk/>
            <pc:sldMk cId="4157075218" sldId="1464"/>
            <ac:picMk id="9" creationId="{FD31021B-7F10-4437-81CD-72D051310162}"/>
          </ac:picMkLst>
        </pc:picChg>
        <pc:picChg chg="add del mod">
          <ac:chgData name="Guilherme Maia" userId="fc649a62-ead7-4fa2-a922-e831243cf1e5" providerId="ADAL" clId="{5B731FE2-4D3B-4BA0-B1CA-B005C2C9A0D4}" dt="2019-11-27T00:12:46.667" v="194" actId="478"/>
          <ac:picMkLst>
            <pc:docMk/>
            <pc:sldMk cId="4157075218" sldId="1464"/>
            <ac:picMk id="13" creationId="{3473684D-0696-4D06-AFAC-DE4157BD5321}"/>
          </ac:picMkLst>
        </pc:picChg>
      </pc:sldChg>
      <pc:sldChg chg="del">
        <pc:chgData name="Guilherme Maia" userId="fc649a62-ead7-4fa2-a922-e831243cf1e5" providerId="ADAL" clId="{5B731FE2-4D3B-4BA0-B1CA-B005C2C9A0D4}" dt="2019-11-27T00:19:35.358" v="333" actId="47"/>
        <pc:sldMkLst>
          <pc:docMk/>
          <pc:sldMk cId="2289357893" sldId="1555"/>
        </pc:sldMkLst>
      </pc:sldChg>
      <pc:sldChg chg="add del">
        <pc:chgData name="Guilherme Maia" userId="fc649a62-ead7-4fa2-a922-e831243cf1e5" providerId="ADAL" clId="{5B731FE2-4D3B-4BA0-B1CA-B005C2C9A0D4}" dt="2019-11-27T00:13:00.774" v="198" actId="47"/>
        <pc:sldMkLst>
          <pc:docMk/>
          <pc:sldMk cId="1021348414" sldId="1866"/>
        </pc:sldMkLst>
      </pc:sldChg>
      <pc:sldChg chg="add del">
        <pc:chgData name="Guilherme Maia" userId="fc649a62-ead7-4fa2-a922-e831243cf1e5" providerId="ADAL" clId="{5B731FE2-4D3B-4BA0-B1CA-B005C2C9A0D4}" dt="2019-11-27T00:16:05.206" v="269" actId="47"/>
        <pc:sldMkLst>
          <pc:docMk/>
          <pc:sldMk cId="3381233662" sldId="2004"/>
        </pc:sldMkLst>
      </pc:sldChg>
      <pc:sldChg chg="add del">
        <pc:chgData name="Guilherme Maia" userId="fc649a62-ead7-4fa2-a922-e831243cf1e5" providerId="ADAL" clId="{5B731FE2-4D3B-4BA0-B1CA-B005C2C9A0D4}" dt="2019-11-27T00:17:43.181" v="303" actId="47"/>
        <pc:sldMkLst>
          <pc:docMk/>
          <pc:sldMk cId="1789238930" sldId="2222"/>
        </pc:sldMkLst>
      </pc:sldChg>
      <pc:sldChg chg="addSp delSp modSp add del ord">
        <pc:chgData name="Guilherme Maia" userId="fc649a62-ead7-4fa2-a922-e831243cf1e5" providerId="ADAL" clId="{5B731FE2-4D3B-4BA0-B1CA-B005C2C9A0D4}" dt="2019-11-27T00:22:30.487" v="341"/>
        <pc:sldMkLst>
          <pc:docMk/>
          <pc:sldMk cId="1781932664" sldId="2309"/>
        </pc:sldMkLst>
        <pc:spChg chg="mod">
          <ac:chgData name="Guilherme Maia" userId="fc649a62-ead7-4fa2-a922-e831243cf1e5" providerId="ADAL" clId="{5B731FE2-4D3B-4BA0-B1CA-B005C2C9A0D4}" dt="2019-11-27T00:15:59.827" v="268" actId="2711"/>
          <ac:spMkLst>
            <pc:docMk/>
            <pc:sldMk cId="1781932664" sldId="2309"/>
            <ac:spMk id="3" creationId="{6F2AAAC8-094B-41C1-A2D0-75EFC15A0BD9}"/>
          </ac:spMkLst>
        </pc:spChg>
        <pc:spChg chg="add del mod">
          <ac:chgData name="Guilherme Maia" userId="fc649a62-ead7-4fa2-a922-e831243cf1e5" providerId="ADAL" clId="{5B731FE2-4D3B-4BA0-B1CA-B005C2C9A0D4}" dt="2019-11-27T00:15:22.086" v="258" actId="478"/>
          <ac:spMkLst>
            <pc:docMk/>
            <pc:sldMk cId="1781932664" sldId="2309"/>
            <ac:spMk id="4" creationId="{9BC29DC8-1E7E-4500-878E-D983370C07B9}"/>
          </ac:spMkLst>
        </pc:spChg>
        <pc:spChg chg="add mod">
          <ac:chgData name="Guilherme Maia" userId="fc649a62-ead7-4fa2-a922-e831243cf1e5" providerId="ADAL" clId="{5B731FE2-4D3B-4BA0-B1CA-B005C2C9A0D4}" dt="2019-11-27T00:15:59.827" v="268" actId="2711"/>
          <ac:spMkLst>
            <pc:docMk/>
            <pc:sldMk cId="1781932664" sldId="2309"/>
            <ac:spMk id="5" creationId="{A5DB46D5-5586-42F8-BAC5-0E1A1F2E9FF4}"/>
          </ac:spMkLst>
        </pc:spChg>
        <pc:spChg chg="del mod">
          <ac:chgData name="Guilherme Maia" userId="fc649a62-ead7-4fa2-a922-e831243cf1e5" providerId="ADAL" clId="{5B731FE2-4D3B-4BA0-B1CA-B005C2C9A0D4}" dt="2019-11-27T00:15:19.704" v="255" actId="478"/>
          <ac:spMkLst>
            <pc:docMk/>
            <pc:sldMk cId="1781932664" sldId="2309"/>
            <ac:spMk id="17" creationId="{00000000-0000-0000-0000-000000000000}"/>
          </ac:spMkLst>
        </pc:spChg>
      </pc:sldChg>
      <pc:sldChg chg="addSp delSp modSp add del ord">
        <pc:chgData name="Guilherme Maia" userId="fc649a62-ead7-4fa2-a922-e831243cf1e5" providerId="ADAL" clId="{5B731FE2-4D3B-4BA0-B1CA-B005C2C9A0D4}" dt="2019-11-27T00:22:38.920" v="342"/>
        <pc:sldMkLst>
          <pc:docMk/>
          <pc:sldMk cId="3595804878" sldId="2310"/>
        </pc:sldMkLst>
        <pc:spChg chg="mod">
          <ac:chgData name="Guilherme Maia" userId="fc649a62-ead7-4fa2-a922-e831243cf1e5" providerId="ADAL" clId="{5B731FE2-4D3B-4BA0-B1CA-B005C2C9A0D4}" dt="2019-11-27T00:15:52.173" v="265" actId="2711"/>
          <ac:spMkLst>
            <pc:docMk/>
            <pc:sldMk cId="3595804878" sldId="2310"/>
            <ac:spMk id="3" creationId="{A926D8B4-6C55-4CCE-A8EF-71085BD75BBE}"/>
          </ac:spMkLst>
        </pc:spChg>
        <pc:spChg chg="add del mod">
          <ac:chgData name="Guilherme Maia" userId="fc649a62-ead7-4fa2-a922-e831243cf1e5" providerId="ADAL" clId="{5B731FE2-4D3B-4BA0-B1CA-B005C2C9A0D4}" dt="2019-11-27T00:15:54.482" v="267" actId="478"/>
          <ac:spMkLst>
            <pc:docMk/>
            <pc:sldMk cId="3595804878" sldId="2310"/>
            <ac:spMk id="4" creationId="{C8371EC7-ADE3-4338-8AA5-9AC5D221864E}"/>
          </ac:spMkLst>
        </pc:spChg>
        <pc:spChg chg="add mod">
          <ac:chgData name="Guilherme Maia" userId="fc649a62-ead7-4fa2-a922-e831243cf1e5" providerId="ADAL" clId="{5B731FE2-4D3B-4BA0-B1CA-B005C2C9A0D4}" dt="2019-11-27T00:15:44.639" v="262"/>
          <ac:spMkLst>
            <pc:docMk/>
            <pc:sldMk cId="3595804878" sldId="2310"/>
            <ac:spMk id="5" creationId="{5C7BE2F4-01D7-4A45-8626-07397AB049DA}"/>
          </ac:spMkLst>
        </pc:spChg>
        <pc:spChg chg="del mod">
          <ac:chgData name="Guilherme Maia" userId="fc649a62-ead7-4fa2-a922-e831243cf1e5" providerId="ADAL" clId="{5B731FE2-4D3B-4BA0-B1CA-B005C2C9A0D4}" dt="2019-11-27T00:15:48.337" v="264" actId="478"/>
          <ac:spMkLst>
            <pc:docMk/>
            <pc:sldMk cId="3595804878" sldId="2310"/>
            <ac:spMk id="17" creationId="{00000000-0000-0000-0000-000000000000}"/>
          </ac:spMkLst>
        </pc:spChg>
      </pc:sldChg>
      <pc:sldChg chg="addSp delSp modSp add del">
        <pc:chgData name="Guilherme Maia" userId="fc649a62-ead7-4fa2-a922-e831243cf1e5" providerId="ADAL" clId="{5B731FE2-4D3B-4BA0-B1CA-B005C2C9A0D4}" dt="2019-11-27T00:12:26.125" v="185" actId="2711"/>
        <pc:sldMkLst>
          <pc:docMk/>
          <pc:sldMk cId="1264106820" sldId="2336"/>
        </pc:sldMkLst>
        <pc:spChg chg="mod">
          <ac:chgData name="Guilherme Maia" userId="fc649a62-ead7-4fa2-a922-e831243cf1e5" providerId="ADAL" clId="{5B731FE2-4D3B-4BA0-B1CA-B005C2C9A0D4}" dt="2019-11-27T00:12:26.125" v="185" actId="2711"/>
          <ac:spMkLst>
            <pc:docMk/>
            <pc:sldMk cId="1264106820" sldId="2336"/>
            <ac:spMk id="3" creationId="{40AA0DF7-843F-4CF1-994A-E870DCF34836}"/>
          </ac:spMkLst>
        </pc:spChg>
        <pc:spChg chg="del mod">
          <ac:chgData name="Guilherme Maia" userId="fc649a62-ead7-4fa2-a922-e831243cf1e5" providerId="ADAL" clId="{5B731FE2-4D3B-4BA0-B1CA-B005C2C9A0D4}" dt="2019-11-27T00:12:02" v="178" actId="478"/>
          <ac:spMkLst>
            <pc:docMk/>
            <pc:sldMk cId="1264106820" sldId="2336"/>
            <ac:spMk id="4" creationId="{00CECF43-A5B3-4EBA-84DE-4A669251E787}"/>
          </ac:spMkLst>
        </pc:spChg>
        <pc:spChg chg="add mod">
          <ac:chgData name="Guilherme Maia" userId="fc649a62-ead7-4fa2-a922-e831243cf1e5" providerId="ADAL" clId="{5B731FE2-4D3B-4BA0-B1CA-B005C2C9A0D4}" dt="2019-11-27T00:12:05.651" v="179" actId="2711"/>
          <ac:spMkLst>
            <pc:docMk/>
            <pc:sldMk cId="1264106820" sldId="2336"/>
            <ac:spMk id="5" creationId="{018528ED-6B4E-4A85-907F-41AB7C97FA1C}"/>
          </ac:spMkLst>
        </pc:spChg>
      </pc:sldChg>
      <pc:sldChg chg="addSp delSp modSp add del">
        <pc:chgData name="Guilherme Maia" userId="fc649a62-ead7-4fa2-a922-e831243cf1e5" providerId="ADAL" clId="{5B731FE2-4D3B-4BA0-B1CA-B005C2C9A0D4}" dt="2019-11-27T00:12:44.163" v="192" actId="2711"/>
        <pc:sldMkLst>
          <pc:docMk/>
          <pc:sldMk cId="2045493468" sldId="2337"/>
        </pc:sldMkLst>
        <pc:spChg chg="add del mod">
          <ac:chgData name="Guilherme Maia" userId="fc649a62-ead7-4fa2-a922-e831243cf1e5" providerId="ADAL" clId="{5B731FE2-4D3B-4BA0-B1CA-B005C2C9A0D4}" dt="2019-11-27T00:12:44.163" v="192" actId="2711"/>
          <ac:spMkLst>
            <pc:docMk/>
            <pc:sldMk cId="2045493468" sldId="2337"/>
            <ac:spMk id="5" creationId="{ACC8E05E-9E56-4C9B-A2A2-21C24CA109B0}"/>
          </ac:spMkLst>
        </pc:spChg>
        <pc:spChg chg="mod">
          <ac:chgData name="Guilherme Maia" userId="fc649a62-ead7-4fa2-a922-e831243cf1e5" providerId="ADAL" clId="{5B731FE2-4D3B-4BA0-B1CA-B005C2C9A0D4}" dt="2019-11-27T00:12:44.163" v="192" actId="2711"/>
          <ac:spMkLst>
            <pc:docMk/>
            <pc:sldMk cId="2045493468" sldId="2337"/>
            <ac:spMk id="6" creationId="{00000000-0000-0000-0000-000000000000}"/>
          </ac:spMkLst>
        </pc:spChg>
        <pc:spChg chg="del mod">
          <ac:chgData name="Guilherme Maia" userId="fc649a62-ead7-4fa2-a922-e831243cf1e5" providerId="ADAL" clId="{5B731FE2-4D3B-4BA0-B1CA-B005C2C9A0D4}" dt="2019-11-27T00:12:39.896" v="191" actId="478"/>
          <ac:spMkLst>
            <pc:docMk/>
            <pc:sldMk cId="2045493468" sldId="2337"/>
            <ac:spMk id="17" creationId="{00000000-0000-0000-0000-000000000000}"/>
          </ac:spMkLst>
        </pc:spChg>
      </pc:sldChg>
      <pc:sldChg chg="modSp add del">
        <pc:chgData name="Guilherme Maia" userId="fc649a62-ead7-4fa2-a922-e831243cf1e5" providerId="ADAL" clId="{5B731FE2-4D3B-4BA0-B1CA-B005C2C9A0D4}" dt="2019-11-27T00:12:55.177" v="195" actId="47"/>
        <pc:sldMkLst>
          <pc:docMk/>
          <pc:sldMk cId="2852811729" sldId="2341"/>
        </pc:sldMkLst>
        <pc:spChg chg="mod">
          <ac:chgData name="Guilherme Maia" userId="fc649a62-ead7-4fa2-a922-e831243cf1e5" providerId="ADAL" clId="{5B731FE2-4D3B-4BA0-B1CA-B005C2C9A0D4}" dt="2019-11-27T00:11:45.596" v="167" actId="27636"/>
          <ac:spMkLst>
            <pc:docMk/>
            <pc:sldMk cId="2852811729" sldId="2341"/>
            <ac:spMk id="17" creationId="{00000000-0000-0000-0000-000000000000}"/>
          </ac:spMkLst>
        </pc:spChg>
      </pc:sldChg>
      <pc:sldChg chg="addSp delSp modSp add del">
        <pc:chgData name="Guilherme Maia" userId="fc649a62-ead7-4fa2-a922-e831243cf1e5" providerId="ADAL" clId="{5B731FE2-4D3B-4BA0-B1CA-B005C2C9A0D4}" dt="2019-11-27T00:13:37.862" v="219"/>
        <pc:sldMkLst>
          <pc:docMk/>
          <pc:sldMk cId="23916039" sldId="2344"/>
        </pc:sldMkLst>
        <pc:spChg chg="add del mod">
          <ac:chgData name="Guilherme Maia" userId="fc649a62-ead7-4fa2-a922-e831243cf1e5" providerId="ADAL" clId="{5B731FE2-4D3B-4BA0-B1CA-B005C2C9A0D4}" dt="2019-11-27T00:13:33.349" v="217" actId="478"/>
          <ac:spMkLst>
            <pc:docMk/>
            <pc:sldMk cId="23916039" sldId="2344"/>
            <ac:spMk id="4" creationId="{B47C5D2B-6462-4FC3-B60A-7ED1F911CD2A}"/>
          </ac:spMkLst>
        </pc:spChg>
        <pc:spChg chg="add del mod">
          <ac:chgData name="Guilherme Maia" userId="fc649a62-ead7-4fa2-a922-e831243cf1e5" providerId="ADAL" clId="{5B731FE2-4D3B-4BA0-B1CA-B005C2C9A0D4}" dt="2019-11-27T00:13:37.862" v="219"/>
          <ac:spMkLst>
            <pc:docMk/>
            <pc:sldMk cId="23916039" sldId="2344"/>
            <ac:spMk id="7" creationId="{B6E24D11-8DD8-4B95-B9CF-1BF37EAAC463}"/>
          </ac:spMkLst>
        </pc:spChg>
        <pc:spChg chg="add del mod">
          <ac:chgData name="Guilherme Maia" userId="fc649a62-ead7-4fa2-a922-e831243cf1e5" providerId="ADAL" clId="{5B731FE2-4D3B-4BA0-B1CA-B005C2C9A0D4}" dt="2019-11-27T00:13:30.845" v="215" actId="478"/>
          <ac:spMkLst>
            <pc:docMk/>
            <pc:sldMk cId="23916039" sldId="2344"/>
            <ac:spMk id="17" creationId="{00000000-0000-0000-0000-000000000000}"/>
          </ac:spMkLst>
        </pc:spChg>
      </pc:sldChg>
      <pc:sldChg chg="addSp delSp modSp add del">
        <pc:chgData name="Guilherme Maia" userId="fc649a62-ead7-4fa2-a922-e831243cf1e5" providerId="ADAL" clId="{5B731FE2-4D3B-4BA0-B1CA-B005C2C9A0D4}" dt="2019-11-27T00:14:03.907" v="227" actId="1076"/>
        <pc:sldMkLst>
          <pc:docMk/>
          <pc:sldMk cId="3129176361" sldId="2348"/>
        </pc:sldMkLst>
        <pc:spChg chg="add del mod">
          <ac:chgData name="Guilherme Maia" userId="fc649a62-ead7-4fa2-a922-e831243cf1e5" providerId="ADAL" clId="{5B731FE2-4D3B-4BA0-B1CA-B005C2C9A0D4}" dt="2019-11-27T00:13:59.081" v="225" actId="478"/>
          <ac:spMkLst>
            <pc:docMk/>
            <pc:sldMk cId="3129176361" sldId="2348"/>
            <ac:spMk id="3" creationId="{4222ACB6-141E-4407-9AE4-4E1EF3066C2B}"/>
          </ac:spMkLst>
        </pc:spChg>
        <pc:spChg chg="mod">
          <ac:chgData name="Guilherme Maia" userId="fc649a62-ead7-4fa2-a922-e831243cf1e5" providerId="ADAL" clId="{5B731FE2-4D3B-4BA0-B1CA-B005C2C9A0D4}" dt="2019-11-27T00:14:03.907" v="227" actId="1076"/>
          <ac:spMkLst>
            <pc:docMk/>
            <pc:sldMk cId="3129176361" sldId="2348"/>
            <ac:spMk id="6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14:03.907" v="227" actId="1076"/>
          <ac:spMkLst>
            <pc:docMk/>
            <pc:sldMk cId="3129176361" sldId="2348"/>
            <ac:spMk id="7" creationId="{D6773408-48E8-4EE8-BF8C-BE8B014CD02E}"/>
          </ac:spMkLst>
        </pc:spChg>
        <pc:spChg chg="del mod">
          <ac:chgData name="Guilherme Maia" userId="fc649a62-ead7-4fa2-a922-e831243cf1e5" providerId="ADAL" clId="{5B731FE2-4D3B-4BA0-B1CA-B005C2C9A0D4}" dt="2019-11-27T00:13:53.389" v="223" actId="478"/>
          <ac:spMkLst>
            <pc:docMk/>
            <pc:sldMk cId="3129176361" sldId="2348"/>
            <ac:spMk id="17" creationId="{00000000-0000-0000-0000-000000000000}"/>
          </ac:spMkLst>
        </pc:spChg>
        <pc:picChg chg="mod">
          <ac:chgData name="Guilherme Maia" userId="fc649a62-ead7-4fa2-a922-e831243cf1e5" providerId="ADAL" clId="{5B731FE2-4D3B-4BA0-B1CA-B005C2C9A0D4}" dt="2019-11-27T00:14:03.907" v="227" actId="1076"/>
          <ac:picMkLst>
            <pc:docMk/>
            <pc:sldMk cId="3129176361" sldId="2348"/>
            <ac:picMk id="5" creationId="{BE858628-71FA-4775-ACBD-7EAC6B69FF9F}"/>
          </ac:picMkLst>
        </pc:picChg>
      </pc:sldChg>
      <pc:sldChg chg="addSp delSp modSp add del">
        <pc:chgData name="Guilherme Maia" userId="fc649a62-ead7-4fa2-a922-e831243cf1e5" providerId="ADAL" clId="{5B731FE2-4D3B-4BA0-B1CA-B005C2C9A0D4}" dt="2019-11-27T00:14:35.984" v="236" actId="2711"/>
        <pc:sldMkLst>
          <pc:docMk/>
          <pc:sldMk cId="973305598" sldId="2350"/>
        </pc:sldMkLst>
        <pc:spChg chg="mod">
          <ac:chgData name="Guilherme Maia" userId="fc649a62-ead7-4fa2-a922-e831243cf1e5" providerId="ADAL" clId="{5B731FE2-4D3B-4BA0-B1CA-B005C2C9A0D4}" dt="2019-11-27T00:14:35.984" v="236" actId="2711"/>
          <ac:spMkLst>
            <pc:docMk/>
            <pc:sldMk cId="973305598" sldId="2350"/>
            <ac:spMk id="3" creationId="{E3CFE0E5-BC01-4AA6-86B3-F795E6BE316A}"/>
          </ac:spMkLst>
        </pc:spChg>
        <pc:spChg chg="add mod">
          <ac:chgData name="Guilherme Maia" userId="fc649a62-ead7-4fa2-a922-e831243cf1e5" providerId="ADAL" clId="{5B731FE2-4D3B-4BA0-B1CA-B005C2C9A0D4}" dt="2019-11-27T00:14:35.984" v="236" actId="2711"/>
          <ac:spMkLst>
            <pc:docMk/>
            <pc:sldMk cId="973305598" sldId="2350"/>
            <ac:spMk id="5" creationId="{9301B7C4-3681-4021-A42B-28C0DE4FF4E0}"/>
          </ac:spMkLst>
        </pc:spChg>
        <pc:spChg chg="del mod">
          <ac:chgData name="Guilherme Maia" userId="fc649a62-ead7-4fa2-a922-e831243cf1e5" providerId="ADAL" clId="{5B731FE2-4D3B-4BA0-B1CA-B005C2C9A0D4}" dt="2019-11-27T00:14:30.937" v="235" actId="478"/>
          <ac:spMkLst>
            <pc:docMk/>
            <pc:sldMk cId="973305598" sldId="2350"/>
            <ac:spMk id="17" creationId="{00000000-0000-0000-0000-000000000000}"/>
          </ac:spMkLst>
        </pc:spChg>
        <pc:graphicFrameChg chg="mod">
          <ac:chgData name="Guilherme Maia" userId="fc649a62-ead7-4fa2-a922-e831243cf1e5" providerId="ADAL" clId="{5B731FE2-4D3B-4BA0-B1CA-B005C2C9A0D4}" dt="2019-11-27T00:14:12.885" v="228" actId="12385"/>
          <ac:graphicFrameMkLst>
            <pc:docMk/>
            <pc:sldMk cId="973305598" sldId="2350"/>
            <ac:graphicFrameMk id="9" creationId="{E66B9D45-1ED8-4863-BC67-F226EAE91928}"/>
          </ac:graphicFrameMkLst>
        </pc:graphicFrameChg>
      </pc:sldChg>
      <pc:sldChg chg="addSp delSp modSp add del">
        <pc:chgData name="Guilherme Maia" userId="fc649a62-ead7-4fa2-a922-e831243cf1e5" providerId="ADAL" clId="{5B731FE2-4D3B-4BA0-B1CA-B005C2C9A0D4}" dt="2019-11-27T00:15:00.148" v="249" actId="12385"/>
        <pc:sldMkLst>
          <pc:docMk/>
          <pc:sldMk cId="3232483642" sldId="2352"/>
        </pc:sldMkLst>
        <pc:spChg chg="add del mod">
          <ac:chgData name="Guilherme Maia" userId="fc649a62-ead7-4fa2-a922-e831243cf1e5" providerId="ADAL" clId="{5B731FE2-4D3B-4BA0-B1CA-B005C2C9A0D4}" dt="2019-11-27T00:14:52.762" v="241" actId="478"/>
          <ac:spMkLst>
            <pc:docMk/>
            <pc:sldMk cId="3232483642" sldId="2352"/>
            <ac:spMk id="4" creationId="{56A11BA5-8FCE-4CE0-BDAB-4668E8C4CAD3}"/>
          </ac:spMkLst>
        </pc:spChg>
        <pc:spChg chg="add mod">
          <ac:chgData name="Guilherme Maia" userId="fc649a62-ead7-4fa2-a922-e831243cf1e5" providerId="ADAL" clId="{5B731FE2-4D3B-4BA0-B1CA-B005C2C9A0D4}" dt="2019-11-27T00:14:56.192" v="248" actId="20577"/>
          <ac:spMkLst>
            <pc:docMk/>
            <pc:sldMk cId="3232483642" sldId="2352"/>
            <ac:spMk id="7" creationId="{56A2477A-F1F1-4F6D-A317-3B04B6C9430A}"/>
          </ac:spMkLst>
        </pc:spChg>
        <pc:spChg chg="del mod">
          <ac:chgData name="Guilherme Maia" userId="fc649a62-ead7-4fa2-a922-e831243cf1e5" providerId="ADAL" clId="{5B731FE2-4D3B-4BA0-B1CA-B005C2C9A0D4}" dt="2019-11-27T00:14:50.048" v="239" actId="478"/>
          <ac:spMkLst>
            <pc:docMk/>
            <pc:sldMk cId="3232483642" sldId="2352"/>
            <ac:spMk id="17" creationId="{00000000-0000-0000-0000-000000000000}"/>
          </ac:spMkLst>
        </pc:spChg>
        <pc:graphicFrameChg chg="mod">
          <ac:chgData name="Guilherme Maia" userId="fc649a62-ead7-4fa2-a922-e831243cf1e5" providerId="ADAL" clId="{5B731FE2-4D3B-4BA0-B1CA-B005C2C9A0D4}" dt="2019-11-27T00:15:00.148" v="249" actId="12385"/>
          <ac:graphicFrameMkLst>
            <pc:docMk/>
            <pc:sldMk cId="3232483642" sldId="2352"/>
            <ac:graphicFrameMk id="9" creationId="{C82CA4EF-9753-473D-AD58-920D3A0EA892}"/>
          </ac:graphicFrameMkLst>
        </pc:graphicFrameChg>
      </pc:sldChg>
      <pc:sldChg chg="addSp delSp modSp add del">
        <pc:chgData name="Guilherme Maia" userId="fc649a62-ead7-4fa2-a922-e831243cf1e5" providerId="ADAL" clId="{5B731FE2-4D3B-4BA0-B1CA-B005C2C9A0D4}" dt="2019-11-27T00:17:08.523" v="291" actId="2711"/>
        <pc:sldMkLst>
          <pc:docMk/>
          <pc:sldMk cId="1646937183" sldId="2370"/>
        </pc:sldMkLst>
        <pc:spChg chg="mod">
          <ac:chgData name="Guilherme Maia" userId="fc649a62-ead7-4fa2-a922-e831243cf1e5" providerId="ADAL" clId="{5B731FE2-4D3B-4BA0-B1CA-B005C2C9A0D4}" dt="2019-11-27T00:17:08.523" v="291" actId="2711"/>
          <ac:spMkLst>
            <pc:docMk/>
            <pc:sldMk cId="1646937183" sldId="2370"/>
            <ac:spMk id="4" creationId="{E69AB0F7-30E7-4B07-892B-6E092350C69E}"/>
          </ac:spMkLst>
        </pc:spChg>
        <pc:spChg chg="add mod">
          <ac:chgData name="Guilherme Maia" userId="fc649a62-ead7-4fa2-a922-e831243cf1e5" providerId="ADAL" clId="{5B731FE2-4D3B-4BA0-B1CA-B005C2C9A0D4}" dt="2019-11-27T00:17:08.523" v="291" actId="2711"/>
          <ac:spMkLst>
            <pc:docMk/>
            <pc:sldMk cId="1646937183" sldId="2370"/>
            <ac:spMk id="5" creationId="{CB5C04E6-2D86-4DAB-A561-4DC664E1F462}"/>
          </ac:spMkLst>
        </pc:spChg>
        <pc:spChg chg="del mod">
          <ac:chgData name="Guilherme Maia" userId="fc649a62-ead7-4fa2-a922-e831243cf1e5" providerId="ADAL" clId="{5B731FE2-4D3B-4BA0-B1CA-B005C2C9A0D4}" dt="2019-11-27T00:17:04.224" v="290" actId="478"/>
          <ac:spMkLst>
            <pc:docMk/>
            <pc:sldMk cId="1646937183" sldId="2370"/>
            <ac:spMk id="17" creationId="{00000000-0000-0000-0000-000000000000}"/>
          </ac:spMkLst>
        </pc:spChg>
      </pc:sldChg>
      <pc:sldChg chg="modSp add del">
        <pc:chgData name="Guilherme Maia" userId="fc649a62-ead7-4fa2-a922-e831243cf1e5" providerId="ADAL" clId="{5B731FE2-4D3B-4BA0-B1CA-B005C2C9A0D4}" dt="2019-11-27T00:17:13.503" v="293" actId="47"/>
        <pc:sldMkLst>
          <pc:docMk/>
          <pc:sldMk cId="4138574709" sldId="2375"/>
        </pc:sldMkLst>
        <pc:spChg chg="mod">
          <ac:chgData name="Guilherme Maia" userId="fc649a62-ead7-4fa2-a922-e831243cf1e5" providerId="ADAL" clId="{5B731FE2-4D3B-4BA0-B1CA-B005C2C9A0D4}" dt="2019-11-27T00:11:45.715" v="172" actId="27636"/>
          <ac:spMkLst>
            <pc:docMk/>
            <pc:sldMk cId="4138574709" sldId="2375"/>
            <ac:spMk id="3" creationId="{1AEE1E11-6CBE-4069-BCE4-4A36AF388C6D}"/>
          </ac:spMkLst>
        </pc:spChg>
      </pc:sldChg>
      <pc:sldChg chg="add del">
        <pc:chgData name="Guilherme Maia" userId="fc649a62-ead7-4fa2-a922-e831243cf1e5" providerId="ADAL" clId="{5B731FE2-4D3B-4BA0-B1CA-B005C2C9A0D4}" dt="2019-11-27T00:17:40.913" v="301" actId="47"/>
        <pc:sldMkLst>
          <pc:docMk/>
          <pc:sldMk cId="2835894154" sldId="2378"/>
        </pc:sldMkLst>
      </pc:sldChg>
      <pc:sldChg chg="addSp delSp modSp add del">
        <pc:chgData name="Guilherme Maia" userId="fc649a62-ead7-4fa2-a922-e831243cf1e5" providerId="ADAL" clId="{5B731FE2-4D3B-4BA0-B1CA-B005C2C9A0D4}" dt="2019-11-27T00:18:12.383" v="312" actId="2711"/>
        <pc:sldMkLst>
          <pc:docMk/>
          <pc:sldMk cId="769872003" sldId="2387"/>
        </pc:sldMkLst>
        <pc:spChg chg="mod">
          <ac:chgData name="Guilherme Maia" userId="fc649a62-ead7-4fa2-a922-e831243cf1e5" providerId="ADAL" clId="{5B731FE2-4D3B-4BA0-B1CA-B005C2C9A0D4}" dt="2019-11-27T00:18:12.383" v="312" actId="2711"/>
          <ac:spMkLst>
            <pc:docMk/>
            <pc:sldMk cId="769872003" sldId="2387"/>
            <ac:spMk id="3" creationId="{9E21812E-01E8-44BA-BE97-5E9E1FBBF788}"/>
          </ac:spMkLst>
        </pc:spChg>
        <pc:spChg chg="add mod">
          <ac:chgData name="Guilherme Maia" userId="fc649a62-ead7-4fa2-a922-e831243cf1e5" providerId="ADAL" clId="{5B731FE2-4D3B-4BA0-B1CA-B005C2C9A0D4}" dt="2019-11-27T00:18:12.383" v="312" actId="2711"/>
          <ac:spMkLst>
            <pc:docMk/>
            <pc:sldMk cId="769872003" sldId="2387"/>
            <ac:spMk id="5" creationId="{D695FFA5-D110-43DA-9FF5-7E49041A210E}"/>
          </ac:spMkLst>
        </pc:spChg>
        <pc:spChg chg="del mod">
          <ac:chgData name="Guilherme Maia" userId="fc649a62-ead7-4fa2-a922-e831243cf1e5" providerId="ADAL" clId="{5B731FE2-4D3B-4BA0-B1CA-B005C2C9A0D4}" dt="2019-11-27T00:18:07.854" v="311" actId="478"/>
          <ac:spMkLst>
            <pc:docMk/>
            <pc:sldMk cId="769872003" sldId="2387"/>
            <ac:spMk id="17" creationId="{00000000-0000-0000-0000-000000000000}"/>
          </ac:spMkLst>
        </pc:spChg>
      </pc:sldChg>
      <pc:sldChg chg="addSp delSp modSp add del">
        <pc:chgData name="Guilherme Maia" userId="fc649a62-ead7-4fa2-a922-e831243cf1e5" providerId="ADAL" clId="{5B731FE2-4D3B-4BA0-B1CA-B005C2C9A0D4}" dt="2019-11-27T00:18:48.795" v="325" actId="1076"/>
        <pc:sldMkLst>
          <pc:docMk/>
          <pc:sldMk cId="759302618" sldId="2388"/>
        </pc:sldMkLst>
        <pc:spChg chg="add del">
          <ac:chgData name="Guilherme Maia" userId="fc649a62-ead7-4fa2-a922-e831243cf1e5" providerId="ADAL" clId="{5B731FE2-4D3B-4BA0-B1CA-B005C2C9A0D4}" dt="2019-11-27T00:17:56.289" v="306"/>
          <ac:spMkLst>
            <pc:docMk/>
            <pc:sldMk cId="759302618" sldId="2388"/>
            <ac:spMk id="3" creationId="{9281B2F7-F0CE-4E6F-AD79-70FE7D0014A1}"/>
          </ac:spMkLst>
        </pc:spChg>
        <pc:spChg chg="add del mod">
          <ac:chgData name="Guilherme Maia" userId="fc649a62-ead7-4fa2-a922-e831243cf1e5" providerId="ADAL" clId="{5B731FE2-4D3B-4BA0-B1CA-B005C2C9A0D4}" dt="2019-11-27T00:18:32.688" v="320" actId="478"/>
          <ac:spMkLst>
            <pc:docMk/>
            <pc:sldMk cId="759302618" sldId="2388"/>
            <ac:spMk id="5" creationId="{9DE2CB1D-1679-436B-8994-48C4B83517F9}"/>
          </ac:spMkLst>
        </pc:spChg>
        <pc:spChg chg="add mod">
          <ac:chgData name="Guilherme Maia" userId="fc649a62-ead7-4fa2-a922-e831243cf1e5" providerId="ADAL" clId="{5B731FE2-4D3B-4BA0-B1CA-B005C2C9A0D4}" dt="2019-11-27T00:18:44.151" v="324" actId="1076"/>
          <ac:spMkLst>
            <pc:docMk/>
            <pc:sldMk cId="759302618" sldId="2388"/>
            <ac:spMk id="6" creationId="{C454AEB9-0176-4192-B7DB-9F8AF899974B}"/>
          </ac:spMkLst>
        </pc:spChg>
        <pc:spChg chg="mod">
          <ac:chgData name="Guilherme Maia" userId="fc649a62-ead7-4fa2-a922-e831243cf1e5" providerId="ADAL" clId="{5B731FE2-4D3B-4BA0-B1CA-B005C2C9A0D4}" dt="2019-11-27T00:18:48.795" v="325" actId="1076"/>
          <ac:spMkLst>
            <pc:docMk/>
            <pc:sldMk cId="759302618" sldId="2388"/>
            <ac:spMk id="8" creationId="{37B485B1-04A3-4531-A6A1-CA384C8FFB95}"/>
          </ac:spMkLst>
        </pc:spChg>
        <pc:spChg chg="del mod">
          <ac:chgData name="Guilherme Maia" userId="fc649a62-ead7-4fa2-a922-e831243cf1e5" providerId="ADAL" clId="{5B731FE2-4D3B-4BA0-B1CA-B005C2C9A0D4}" dt="2019-11-27T00:18:30.431" v="317" actId="478"/>
          <ac:spMkLst>
            <pc:docMk/>
            <pc:sldMk cId="759302618" sldId="2388"/>
            <ac:spMk id="17" creationId="{00000000-0000-0000-0000-000000000000}"/>
          </ac:spMkLst>
        </pc:spChg>
        <pc:picChg chg="mod">
          <ac:chgData name="Guilherme Maia" userId="fc649a62-ead7-4fa2-a922-e831243cf1e5" providerId="ADAL" clId="{5B731FE2-4D3B-4BA0-B1CA-B005C2C9A0D4}" dt="2019-11-27T00:18:44.151" v="324" actId="1076"/>
          <ac:picMkLst>
            <pc:docMk/>
            <pc:sldMk cId="759302618" sldId="2388"/>
            <ac:picMk id="2" creationId="{46DEF714-7DA8-46C4-8A89-DC1B5C303705}"/>
          </ac:picMkLst>
        </pc:picChg>
      </pc:sldChg>
      <pc:sldChg chg="addSp delSp modSp add del">
        <pc:chgData name="Guilherme Maia" userId="fc649a62-ead7-4fa2-a922-e831243cf1e5" providerId="ADAL" clId="{5B731FE2-4D3B-4BA0-B1CA-B005C2C9A0D4}" dt="2019-11-27T00:24:51.427" v="373" actId="478"/>
        <pc:sldMkLst>
          <pc:docMk/>
          <pc:sldMk cId="907997803" sldId="2389"/>
        </pc:sldMkLst>
        <pc:spChg chg="add del mod">
          <ac:chgData name="Guilherme Maia" userId="fc649a62-ead7-4fa2-a922-e831243cf1e5" providerId="ADAL" clId="{5B731FE2-4D3B-4BA0-B1CA-B005C2C9A0D4}" dt="2019-11-27T00:24:51.427" v="373" actId="478"/>
          <ac:spMkLst>
            <pc:docMk/>
            <pc:sldMk cId="907997803" sldId="2389"/>
            <ac:spMk id="3" creationId="{FB2FA966-538D-4484-B8DA-78AC2D2F8600}"/>
          </ac:spMkLst>
        </pc:spChg>
        <pc:spChg chg="mod">
          <ac:chgData name="Guilherme Maia" userId="fc649a62-ead7-4fa2-a922-e831243cf1e5" providerId="ADAL" clId="{5B731FE2-4D3B-4BA0-B1CA-B005C2C9A0D4}" dt="2019-11-27T00:19:31.821" v="331" actId="2711"/>
          <ac:spMkLst>
            <pc:docMk/>
            <pc:sldMk cId="907997803" sldId="2389"/>
            <ac:spMk id="5" creationId="{8CF8207D-B662-4CD9-BBA7-B833BC3B26DE}"/>
          </ac:spMkLst>
        </pc:spChg>
        <pc:spChg chg="add mod">
          <ac:chgData name="Guilherme Maia" userId="fc649a62-ead7-4fa2-a922-e831243cf1e5" providerId="ADAL" clId="{5B731FE2-4D3B-4BA0-B1CA-B005C2C9A0D4}" dt="2019-11-27T00:19:31.821" v="331" actId="2711"/>
          <ac:spMkLst>
            <pc:docMk/>
            <pc:sldMk cId="907997803" sldId="2389"/>
            <ac:spMk id="8" creationId="{386E48E8-752C-4E15-888A-34130DCD32BB}"/>
          </ac:spMkLst>
        </pc:spChg>
        <pc:spChg chg="del mod">
          <ac:chgData name="Guilherme Maia" userId="fc649a62-ead7-4fa2-a922-e831243cf1e5" providerId="ADAL" clId="{5B731FE2-4D3B-4BA0-B1CA-B005C2C9A0D4}" dt="2019-11-27T00:19:24.734" v="329" actId="478"/>
          <ac:spMkLst>
            <pc:docMk/>
            <pc:sldMk cId="907997803" sldId="2389"/>
            <ac:spMk id="17" creationId="{00000000-0000-0000-0000-000000000000}"/>
          </ac:spMkLst>
        </pc:spChg>
      </pc:sldChg>
      <pc:sldChg chg="add del">
        <pc:chgData name="Guilherme Maia" userId="fc649a62-ead7-4fa2-a922-e831243cf1e5" providerId="ADAL" clId="{5B731FE2-4D3B-4BA0-B1CA-B005C2C9A0D4}" dt="2019-11-27T00:19:34.069" v="332" actId="47"/>
        <pc:sldMkLst>
          <pc:docMk/>
          <pc:sldMk cId="4142514633" sldId="2392"/>
        </pc:sldMkLst>
      </pc:sldChg>
      <pc:sldChg chg="add del">
        <pc:chgData name="Guilherme Maia" userId="fc649a62-ead7-4fa2-a922-e831243cf1e5" providerId="ADAL" clId="{5B731FE2-4D3B-4BA0-B1CA-B005C2C9A0D4}" dt="2019-11-27T00:13:02.363" v="199" actId="47"/>
        <pc:sldMkLst>
          <pc:docMk/>
          <pc:sldMk cId="1033275132" sldId="2394"/>
        </pc:sldMkLst>
      </pc:sldChg>
      <pc:sldChg chg="add del">
        <pc:chgData name="Guilherme Maia" userId="fc649a62-ead7-4fa2-a922-e831243cf1e5" providerId="ADAL" clId="{5B731FE2-4D3B-4BA0-B1CA-B005C2C9A0D4}" dt="2019-11-27T00:16:05.720" v="270" actId="47"/>
        <pc:sldMkLst>
          <pc:docMk/>
          <pc:sldMk cId="1432426974" sldId="2395"/>
        </pc:sldMkLst>
      </pc:sldChg>
      <pc:sldChg chg="add del">
        <pc:chgData name="Guilherme Maia" userId="fc649a62-ead7-4fa2-a922-e831243cf1e5" providerId="ADAL" clId="{5B731FE2-4D3B-4BA0-B1CA-B005C2C9A0D4}" dt="2019-11-27T00:17:43.852" v="304" actId="47"/>
        <pc:sldMkLst>
          <pc:docMk/>
          <pc:sldMk cId="941996512" sldId="2396"/>
        </pc:sldMkLst>
      </pc:sldChg>
      <pc:sldChg chg="modSp add del">
        <pc:chgData name="Guilherme Maia" userId="fc649a62-ead7-4fa2-a922-e831243cf1e5" providerId="ADAL" clId="{5B731FE2-4D3B-4BA0-B1CA-B005C2C9A0D4}" dt="2019-11-27T00:12:55.899" v="196" actId="47"/>
        <pc:sldMkLst>
          <pc:docMk/>
          <pc:sldMk cId="2665455472" sldId="2397"/>
        </pc:sldMkLst>
        <pc:spChg chg="mod">
          <ac:chgData name="Guilherme Maia" userId="fc649a62-ead7-4fa2-a922-e831243cf1e5" providerId="ADAL" clId="{5B731FE2-4D3B-4BA0-B1CA-B005C2C9A0D4}" dt="2019-11-27T00:11:45.617" v="168" actId="27636"/>
          <ac:spMkLst>
            <pc:docMk/>
            <pc:sldMk cId="2665455472" sldId="2397"/>
            <ac:spMk id="2" creationId="{4CE01A9B-4884-43FC-B882-32050A4E731A}"/>
          </ac:spMkLst>
        </pc:spChg>
      </pc:sldChg>
      <pc:sldChg chg="modSp add del">
        <pc:chgData name="Guilherme Maia" userId="fc649a62-ead7-4fa2-a922-e831243cf1e5" providerId="ADAL" clId="{5B731FE2-4D3B-4BA0-B1CA-B005C2C9A0D4}" dt="2019-11-27T00:12:59.365" v="197" actId="47"/>
        <pc:sldMkLst>
          <pc:docMk/>
          <pc:sldMk cId="3407961432" sldId="2400"/>
        </pc:sldMkLst>
        <pc:spChg chg="mod">
          <ac:chgData name="Guilherme Maia" userId="fc649a62-ead7-4fa2-a922-e831243cf1e5" providerId="ADAL" clId="{5B731FE2-4D3B-4BA0-B1CA-B005C2C9A0D4}" dt="2019-11-27T00:11:45.649" v="170" actId="27636"/>
          <ac:spMkLst>
            <pc:docMk/>
            <pc:sldMk cId="3407961432" sldId="2400"/>
            <ac:spMk id="2" creationId="{1A795138-9AEA-4F02-B779-52B9D52E9711}"/>
          </ac:spMkLst>
        </pc:spChg>
      </pc:sldChg>
      <pc:sldChg chg="modSp add del">
        <pc:chgData name="Guilherme Maia" userId="fc649a62-ead7-4fa2-a922-e831243cf1e5" providerId="ADAL" clId="{5B731FE2-4D3B-4BA0-B1CA-B005C2C9A0D4}" dt="2019-11-27T00:09:36.092" v="151" actId="47"/>
        <pc:sldMkLst>
          <pc:docMk/>
          <pc:sldMk cId="2692621222" sldId="2401"/>
        </pc:sldMkLst>
        <pc:spChg chg="mod">
          <ac:chgData name="Guilherme Maia" userId="fc649a62-ead7-4fa2-a922-e831243cf1e5" providerId="ADAL" clId="{5B731FE2-4D3B-4BA0-B1CA-B005C2C9A0D4}" dt="2019-11-27T00:08:33.221" v="132"/>
          <ac:spMkLst>
            <pc:docMk/>
            <pc:sldMk cId="2692621222" sldId="2401"/>
            <ac:spMk id="17" creationId="{00000000-0000-0000-0000-000000000000}"/>
          </ac:spMkLst>
        </pc:spChg>
      </pc:sldChg>
      <pc:sldChg chg="add del">
        <pc:chgData name="Guilherme Maia" userId="fc649a62-ead7-4fa2-a922-e831243cf1e5" providerId="ADAL" clId="{5B731FE2-4D3B-4BA0-B1CA-B005C2C9A0D4}" dt="2019-11-27T00:15:03.096" v="250" actId="47"/>
        <pc:sldMkLst>
          <pc:docMk/>
          <pc:sldMk cId="2499699889" sldId="2404"/>
        </pc:sldMkLst>
      </pc:sldChg>
      <pc:sldChg chg="add del">
        <pc:chgData name="Guilherme Maia" userId="fc649a62-ead7-4fa2-a922-e831243cf1e5" providerId="ADAL" clId="{5B731FE2-4D3B-4BA0-B1CA-B005C2C9A0D4}" dt="2019-11-27T00:17:12.735" v="292" actId="47"/>
        <pc:sldMkLst>
          <pc:docMk/>
          <pc:sldMk cId="833344192" sldId="2405"/>
        </pc:sldMkLst>
      </pc:sldChg>
      <pc:sldChg chg="addSp delSp modSp add del">
        <pc:chgData name="Guilherme Maia" userId="fc649a62-ead7-4fa2-a922-e831243cf1e5" providerId="ADAL" clId="{5B731FE2-4D3B-4BA0-B1CA-B005C2C9A0D4}" dt="2019-11-27T00:17:35.193" v="300" actId="2711"/>
        <pc:sldMkLst>
          <pc:docMk/>
          <pc:sldMk cId="844532542" sldId="2406"/>
        </pc:sldMkLst>
        <pc:spChg chg="del mod">
          <ac:chgData name="Guilherme Maia" userId="fc649a62-ead7-4fa2-a922-e831243cf1e5" providerId="ADAL" clId="{5B731FE2-4D3B-4BA0-B1CA-B005C2C9A0D4}" dt="2019-11-27T00:17:29.104" v="297" actId="478"/>
          <ac:spMkLst>
            <pc:docMk/>
            <pc:sldMk cId="844532542" sldId="2406"/>
            <ac:spMk id="2" creationId="{36C05605-C6B8-454F-991A-3BC0214DCFD8}"/>
          </ac:spMkLst>
        </pc:spChg>
        <pc:spChg chg="mod">
          <ac:chgData name="Guilherme Maia" userId="fc649a62-ead7-4fa2-a922-e831243cf1e5" providerId="ADAL" clId="{5B731FE2-4D3B-4BA0-B1CA-B005C2C9A0D4}" dt="2019-11-27T00:17:35.193" v="300" actId="2711"/>
          <ac:spMkLst>
            <pc:docMk/>
            <pc:sldMk cId="844532542" sldId="2406"/>
            <ac:spMk id="3" creationId="{4221813D-F1DF-424E-8C96-7BFC93F38FD3}"/>
          </ac:spMkLst>
        </pc:spChg>
        <pc:spChg chg="add mod">
          <ac:chgData name="Guilherme Maia" userId="fc649a62-ead7-4fa2-a922-e831243cf1e5" providerId="ADAL" clId="{5B731FE2-4D3B-4BA0-B1CA-B005C2C9A0D4}" dt="2019-11-27T00:17:35.193" v="300" actId="2711"/>
          <ac:spMkLst>
            <pc:docMk/>
            <pc:sldMk cId="844532542" sldId="2406"/>
            <ac:spMk id="6" creationId="{23192FAD-62C5-4D3F-BAB9-3F428F1F7EF7}"/>
          </ac:spMkLst>
        </pc:spChg>
        <pc:spChg chg="add del mod">
          <ac:chgData name="Guilherme Maia" userId="fc649a62-ead7-4fa2-a922-e831243cf1e5" providerId="ADAL" clId="{5B731FE2-4D3B-4BA0-B1CA-B005C2C9A0D4}" dt="2019-11-27T00:17:31.289" v="299" actId="478"/>
          <ac:spMkLst>
            <pc:docMk/>
            <pc:sldMk cId="844532542" sldId="2406"/>
            <ac:spMk id="7" creationId="{DE4B9B30-DBC8-4483-84EB-9DF810E126DF}"/>
          </ac:spMkLst>
        </pc:spChg>
      </pc:sldChg>
      <pc:sldChg chg="add del">
        <pc:chgData name="Guilherme Maia" userId="fc649a62-ead7-4fa2-a922-e831243cf1e5" providerId="ADAL" clId="{5B731FE2-4D3B-4BA0-B1CA-B005C2C9A0D4}" dt="2019-11-27T00:17:41.755" v="302" actId="47"/>
        <pc:sldMkLst>
          <pc:docMk/>
          <pc:sldMk cId="2289464969" sldId="2407"/>
        </pc:sldMkLst>
      </pc:sldChg>
      <pc:sldChg chg="add del">
        <pc:chgData name="Guilherme Maia" userId="fc649a62-ead7-4fa2-a922-e831243cf1e5" providerId="ADAL" clId="{5B731FE2-4D3B-4BA0-B1CA-B005C2C9A0D4}" dt="2019-11-27T00:15:26.920" v="259" actId="47"/>
        <pc:sldMkLst>
          <pc:docMk/>
          <pc:sldMk cId="2062756197" sldId="2490"/>
        </pc:sldMkLst>
      </pc:sldChg>
      <pc:sldChg chg="add del">
        <pc:chgData name="Guilherme Maia" userId="fc649a62-ead7-4fa2-a922-e831243cf1e5" providerId="ADAL" clId="{5B731FE2-4D3B-4BA0-B1CA-B005C2C9A0D4}" dt="2019-11-27T00:15:30.838" v="260" actId="47"/>
        <pc:sldMkLst>
          <pc:docMk/>
          <pc:sldMk cId="1630032360" sldId="2491"/>
        </pc:sldMkLst>
      </pc:sldChg>
      <pc:sldChg chg="add del">
        <pc:chgData name="Guilherme Maia" userId="fc649a62-ead7-4fa2-a922-e831243cf1e5" providerId="ADAL" clId="{5B731FE2-4D3B-4BA0-B1CA-B005C2C9A0D4}" dt="2019-11-27T00:16:45.262" v="284" actId="47"/>
        <pc:sldMkLst>
          <pc:docMk/>
          <pc:sldMk cId="797390050" sldId="2535"/>
        </pc:sldMkLst>
      </pc:sldChg>
      <pc:sldChg chg="add del">
        <pc:chgData name="Guilherme Maia" userId="fc649a62-ead7-4fa2-a922-e831243cf1e5" providerId="ADAL" clId="{5B731FE2-4D3B-4BA0-B1CA-B005C2C9A0D4}" dt="2019-11-27T00:16:44.562" v="283" actId="47"/>
        <pc:sldMkLst>
          <pc:docMk/>
          <pc:sldMk cId="3237138387" sldId="2536"/>
        </pc:sldMkLst>
      </pc:sldChg>
      <pc:sldChg chg="del">
        <pc:chgData name="Guilherme Maia" userId="fc649a62-ead7-4fa2-a922-e831243cf1e5" providerId="ADAL" clId="{5B731FE2-4D3B-4BA0-B1CA-B005C2C9A0D4}" dt="2019-11-27T00:19:37.254" v="335" actId="47"/>
        <pc:sldMkLst>
          <pc:docMk/>
          <pc:sldMk cId="3646394226" sldId="10481"/>
        </pc:sldMkLst>
      </pc:sldChg>
      <pc:sldChg chg="modSp">
        <pc:chgData name="Guilherme Maia" userId="fc649a62-ead7-4fa2-a922-e831243cf1e5" providerId="ADAL" clId="{5B731FE2-4D3B-4BA0-B1CA-B005C2C9A0D4}" dt="2019-11-26T20:12:02.354" v="127" actId="1076"/>
        <pc:sldMkLst>
          <pc:docMk/>
          <pc:sldMk cId="825661535" sldId="10491"/>
        </pc:sldMkLst>
        <pc:spChg chg="mod">
          <ac:chgData name="Guilherme Maia" userId="fc649a62-ead7-4fa2-a922-e831243cf1e5" providerId="ADAL" clId="{5B731FE2-4D3B-4BA0-B1CA-B005C2C9A0D4}" dt="2019-11-26T20:12:02.354" v="127" actId="1076"/>
          <ac:spMkLst>
            <pc:docMk/>
            <pc:sldMk cId="825661535" sldId="10491"/>
            <ac:spMk id="2" creationId="{00000000-0000-0000-0000-000000000000}"/>
          </ac:spMkLst>
        </pc:spChg>
      </pc:sldChg>
      <pc:sldChg chg="modSp modAnim">
        <pc:chgData name="Guilherme Maia" userId="fc649a62-ead7-4fa2-a922-e831243cf1e5" providerId="ADAL" clId="{5B731FE2-4D3B-4BA0-B1CA-B005C2C9A0D4}" dt="2019-11-26T20:11:44.373" v="125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5B731FE2-4D3B-4BA0-B1CA-B005C2C9A0D4}" dt="2019-11-26T20:11:44.373" v="125" actId="20577"/>
          <ac:spMkLst>
            <pc:docMk/>
            <pc:sldMk cId="2796991040" sldId="10494"/>
            <ac:spMk id="2" creationId="{00000000-0000-0000-0000-000000000000}"/>
          </ac:spMkLst>
        </pc:spChg>
      </pc:sldChg>
      <pc:sldChg chg="addSp delSp modSp add">
        <pc:chgData name="Guilherme Maia" userId="fc649a62-ead7-4fa2-a922-e831243cf1e5" providerId="ADAL" clId="{5B731FE2-4D3B-4BA0-B1CA-B005C2C9A0D4}" dt="2019-11-27T00:46:56.438" v="421" actId="207"/>
        <pc:sldMkLst>
          <pc:docMk/>
          <pc:sldMk cId="4056216665" sldId="10498"/>
        </pc:sldMkLst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2" creationId="{00000000-0000-0000-0000-000000000000}"/>
          </ac:spMkLst>
        </pc:spChg>
        <pc:spChg chg="add del">
          <ac:chgData name="Guilherme Maia" userId="fc649a62-ead7-4fa2-a922-e831243cf1e5" providerId="ADAL" clId="{5B731FE2-4D3B-4BA0-B1CA-B005C2C9A0D4}" dt="2019-11-27T00:27:34.151" v="414"/>
          <ac:spMkLst>
            <pc:docMk/>
            <pc:sldMk cId="4056216665" sldId="10498"/>
            <ac:spMk id="5" creationId="{3F0460AE-A9BD-4F4E-9DC7-9C71B34C6A28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29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3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60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6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63" creationId="{00000000-0000-0000-0000-000000000000}"/>
          </ac:spMkLst>
        </pc:spChg>
        <pc:spChg chg="del mod">
          <ac:chgData name="Guilherme Maia" userId="fc649a62-ead7-4fa2-a922-e831243cf1e5" providerId="ADAL" clId="{5B731FE2-4D3B-4BA0-B1CA-B005C2C9A0D4}" dt="2019-11-27T00:27:50.306" v="419" actId="478"/>
          <ac:spMkLst>
            <pc:docMk/>
            <pc:sldMk cId="4056216665" sldId="10498"/>
            <ac:spMk id="74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301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46:56.438" v="421" actId="207"/>
          <ac:spMkLst>
            <pc:docMk/>
            <pc:sldMk cId="4056216665" sldId="10498"/>
            <ac:spMk id="302" creationId="{00000000-0000-0000-0000-000000000000}"/>
          </ac:spMkLst>
        </pc:spChg>
        <pc:spChg chg="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303" creationId="{00000000-0000-0000-0000-000000000000}"/>
          </ac:spMkLst>
        </pc:spChg>
        <pc:spChg chg="add mod">
          <ac:chgData name="Guilherme Maia" userId="fc649a62-ead7-4fa2-a922-e831243cf1e5" providerId="ADAL" clId="{5B731FE2-4D3B-4BA0-B1CA-B005C2C9A0D4}" dt="2019-11-27T00:27:55.097" v="420" actId="2711"/>
          <ac:spMkLst>
            <pc:docMk/>
            <pc:sldMk cId="4056216665" sldId="10498"/>
            <ac:spMk id="304" creationId="{86A5DB80-1E1A-4FA5-B898-4172963287E9}"/>
          </ac:spMkLst>
        </pc:spChg>
        <pc:grpChg chg="mod">
          <ac:chgData name="Guilherme Maia" userId="fc649a62-ead7-4fa2-a922-e831243cf1e5" providerId="ADAL" clId="{5B731FE2-4D3B-4BA0-B1CA-B005C2C9A0D4}" dt="2019-11-27T00:27:55.097" v="420" actId="2711"/>
          <ac:grpSpMkLst>
            <pc:docMk/>
            <pc:sldMk cId="4056216665" sldId="10498"/>
            <ac:grpSpMk id="4" creationId="{00000000-0000-0000-0000-000000000000}"/>
          </ac:grpSpMkLst>
        </pc:grpChg>
        <pc:grpChg chg="mod">
          <ac:chgData name="Guilherme Maia" userId="fc649a62-ead7-4fa2-a922-e831243cf1e5" providerId="ADAL" clId="{5B731FE2-4D3B-4BA0-B1CA-B005C2C9A0D4}" dt="2019-11-27T00:27:55.097" v="420" actId="2711"/>
          <ac:grpSpMkLst>
            <pc:docMk/>
            <pc:sldMk cId="4056216665" sldId="10498"/>
            <ac:grpSpMk id="6" creationId="{00000000-0000-0000-0000-000000000000}"/>
          </ac:grpSpMkLst>
        </pc:grpChg>
        <pc:grpChg chg="mod">
          <ac:chgData name="Guilherme Maia" userId="fc649a62-ead7-4fa2-a922-e831243cf1e5" providerId="ADAL" clId="{5B731FE2-4D3B-4BA0-B1CA-B005C2C9A0D4}" dt="2019-11-27T00:27:55.097" v="420" actId="2711"/>
          <ac:grpSpMkLst>
            <pc:docMk/>
            <pc:sldMk cId="4056216665" sldId="10498"/>
            <ac:grpSpMk id="19" creationId="{00000000-0000-0000-0000-000000000000}"/>
          </ac:grpSpMkLst>
        </pc:grpChg>
        <pc:grpChg chg="mod">
          <ac:chgData name="Guilherme Maia" userId="fc649a62-ead7-4fa2-a922-e831243cf1e5" providerId="ADAL" clId="{5B731FE2-4D3B-4BA0-B1CA-B005C2C9A0D4}" dt="2019-11-27T00:27:55.097" v="420" actId="2711"/>
          <ac:grpSpMkLst>
            <pc:docMk/>
            <pc:sldMk cId="4056216665" sldId="10498"/>
            <ac:grpSpMk id="288" creationId="{00000000-0000-0000-0000-000000000000}"/>
          </ac:grpSpMkLst>
        </pc:grpChg>
        <pc:cxnChg chg="mod">
          <ac:chgData name="Guilherme Maia" userId="fc649a62-ead7-4fa2-a922-e831243cf1e5" providerId="ADAL" clId="{5B731FE2-4D3B-4BA0-B1CA-B005C2C9A0D4}" dt="2019-11-27T00:27:55.097" v="420" actId="2711"/>
          <ac:cxnSpMkLst>
            <pc:docMk/>
            <pc:sldMk cId="4056216665" sldId="10498"/>
            <ac:cxnSpMk id="28" creationId="{00000000-0000-0000-0000-000000000000}"/>
          </ac:cxnSpMkLst>
        </pc:cxnChg>
      </pc:sldChg>
      <pc:sldChg chg="del">
        <pc:chgData name="Guilherme Maia" userId="fc649a62-ead7-4fa2-a922-e831243cf1e5" providerId="ADAL" clId="{5B731FE2-4D3B-4BA0-B1CA-B005C2C9A0D4}" dt="2019-11-27T00:19:35.830" v="334" actId="47"/>
        <pc:sldMkLst>
          <pc:docMk/>
          <pc:sldMk cId="3680064220" sldId="10499"/>
        </pc:sldMkLst>
      </pc:sldChg>
      <pc:sldChg chg="del">
        <pc:chgData name="Guilherme Maia" userId="fc649a62-ead7-4fa2-a922-e831243cf1e5" providerId="ADAL" clId="{5B731FE2-4D3B-4BA0-B1CA-B005C2C9A0D4}" dt="2019-11-27T00:19:37.771" v="336" actId="47"/>
        <pc:sldMkLst>
          <pc:docMk/>
          <pc:sldMk cId="26167462" sldId="10500"/>
        </pc:sldMkLst>
      </pc:sldChg>
      <pc:sldChg chg="del">
        <pc:chgData name="Guilherme Maia" userId="fc649a62-ead7-4fa2-a922-e831243cf1e5" providerId="ADAL" clId="{5B731FE2-4D3B-4BA0-B1CA-B005C2C9A0D4}" dt="2019-11-27T00:19:38.494" v="337" actId="47"/>
        <pc:sldMkLst>
          <pc:docMk/>
          <pc:sldMk cId="1669138521" sldId="10501"/>
        </pc:sldMkLst>
      </pc:sldChg>
      <pc:sldChg chg="del">
        <pc:chgData name="Guilherme Maia" userId="fc649a62-ead7-4fa2-a922-e831243cf1e5" providerId="ADAL" clId="{5B731FE2-4D3B-4BA0-B1CA-B005C2C9A0D4}" dt="2019-11-27T00:19:39.132" v="338" actId="47"/>
        <pc:sldMkLst>
          <pc:docMk/>
          <pc:sldMk cId="3372528881" sldId="10502"/>
        </pc:sldMkLst>
      </pc:sldChg>
      <pc:sldChg chg="del">
        <pc:chgData name="Guilherme Maia" userId="fc649a62-ead7-4fa2-a922-e831243cf1e5" providerId="ADAL" clId="{5B731FE2-4D3B-4BA0-B1CA-B005C2C9A0D4}" dt="2019-11-27T00:19:39.786" v="339" actId="47"/>
        <pc:sldMkLst>
          <pc:docMk/>
          <pc:sldMk cId="2436424346" sldId="10503"/>
        </pc:sldMkLst>
      </pc:sldChg>
      <pc:sldChg chg="del">
        <pc:chgData name="Guilherme Maia" userId="fc649a62-ead7-4fa2-a922-e831243cf1e5" providerId="ADAL" clId="{5B731FE2-4D3B-4BA0-B1CA-B005C2C9A0D4}" dt="2019-11-27T00:19:40.685" v="340" actId="47"/>
        <pc:sldMkLst>
          <pc:docMk/>
          <pc:sldMk cId="2289527463" sldId="10504"/>
        </pc:sldMkLst>
      </pc:sldChg>
      <pc:sldMasterChg chg="addSldLayout delSldLayout">
        <pc:chgData name="Guilherme Maia" userId="fc649a62-ead7-4fa2-a922-e831243cf1e5" providerId="ADAL" clId="{5B731FE2-4D3B-4BA0-B1CA-B005C2C9A0D4}" dt="2019-11-27T00:19:40.685" v="340" actId="47"/>
        <pc:sldMasterMkLst>
          <pc:docMk/>
          <pc:sldMasterMk cId="1042435122" sldId="2147484103"/>
        </pc:sldMasterMkLst>
        <pc:sldLayoutChg chg="del">
          <pc:chgData name="Guilherme Maia" userId="fc649a62-ead7-4fa2-a922-e831243cf1e5" providerId="ADAL" clId="{5B731FE2-4D3B-4BA0-B1CA-B005C2C9A0D4}" dt="2019-11-27T00:19:40.685" v="340" actId="47"/>
          <pc:sldLayoutMkLst>
            <pc:docMk/>
            <pc:sldMasterMk cId="1042435122" sldId="2147484103"/>
            <pc:sldLayoutMk cId="2195513940" sldId="2147484123"/>
          </pc:sldLayoutMkLst>
        </pc:sldLayoutChg>
        <pc:sldLayoutChg chg="del">
          <pc:chgData name="Guilherme Maia" userId="fc649a62-ead7-4fa2-a922-e831243cf1e5" providerId="ADAL" clId="{5B731FE2-4D3B-4BA0-B1CA-B005C2C9A0D4}" dt="2019-11-27T00:12:55.177" v="195" actId="47"/>
          <pc:sldLayoutMkLst>
            <pc:docMk/>
            <pc:sldMasterMk cId="1042435122" sldId="2147484103"/>
            <pc:sldLayoutMk cId="527007043" sldId="2147484152"/>
          </pc:sldLayoutMkLst>
        </pc:sldLayoutChg>
        <pc:sldLayoutChg chg="del">
          <pc:chgData name="Guilherme Maia" userId="fc649a62-ead7-4fa2-a922-e831243cf1e5" providerId="ADAL" clId="{5B731FE2-4D3B-4BA0-B1CA-B005C2C9A0D4}" dt="2019-11-27T00:12:55.899" v="196" actId="47"/>
          <pc:sldLayoutMkLst>
            <pc:docMk/>
            <pc:sldMasterMk cId="1042435122" sldId="2147484103"/>
            <pc:sldLayoutMk cId="1950949027" sldId="2147484153"/>
          </pc:sldLayoutMkLst>
        </pc:sldLayoutChg>
        <pc:sldLayoutChg chg="del">
          <pc:chgData name="Guilherme Maia" userId="fc649a62-ead7-4fa2-a922-e831243cf1e5" providerId="ADAL" clId="{5B731FE2-4D3B-4BA0-B1CA-B005C2C9A0D4}" dt="2019-11-27T00:12:59.365" v="197" actId="47"/>
          <pc:sldLayoutMkLst>
            <pc:docMk/>
            <pc:sldMasterMk cId="1042435122" sldId="2147484103"/>
            <pc:sldLayoutMk cId="3102407368" sldId="2147484155"/>
          </pc:sldLayoutMkLst>
        </pc:sldLayoutChg>
        <pc:sldLayoutChg chg="del">
          <pc:chgData name="Guilherme Maia" userId="fc649a62-ead7-4fa2-a922-e831243cf1e5" providerId="ADAL" clId="{5B731FE2-4D3B-4BA0-B1CA-B005C2C9A0D4}" dt="2019-11-27T00:17:43.181" v="303" actId="47"/>
          <pc:sldLayoutMkLst>
            <pc:docMk/>
            <pc:sldMasterMk cId="1042435122" sldId="2147484103"/>
            <pc:sldLayoutMk cId="4173973262" sldId="2147484156"/>
          </pc:sldLayoutMkLst>
        </pc:sldLayoutChg>
        <pc:sldLayoutChg chg="del">
          <pc:chgData name="Guilherme Maia" userId="fc649a62-ead7-4fa2-a922-e831243cf1e5" providerId="ADAL" clId="{5B731FE2-4D3B-4BA0-B1CA-B005C2C9A0D4}" dt="2019-11-27T00:13:02.363" v="199" actId="47"/>
          <pc:sldLayoutMkLst>
            <pc:docMk/>
            <pc:sldMasterMk cId="1042435122" sldId="2147484103"/>
            <pc:sldLayoutMk cId="4033530827" sldId="2147484157"/>
          </pc:sldLayoutMkLst>
        </pc:sldLayoutChg>
        <pc:sldLayoutChg chg="del">
          <pc:chgData name="Guilherme Maia" userId="fc649a62-ead7-4fa2-a922-e831243cf1e5" providerId="ADAL" clId="{5B731FE2-4D3B-4BA0-B1CA-B005C2C9A0D4}" dt="2019-11-27T00:15:03.096" v="250" actId="47"/>
          <pc:sldLayoutMkLst>
            <pc:docMk/>
            <pc:sldMasterMk cId="1042435122" sldId="2147484103"/>
            <pc:sldLayoutMk cId="1994079074" sldId="2147484161"/>
          </pc:sldLayoutMkLst>
        </pc:sldLayoutChg>
        <pc:sldLayoutChg chg="del">
          <pc:chgData name="Guilherme Maia" userId="fc649a62-ead7-4fa2-a922-e831243cf1e5" providerId="ADAL" clId="{5B731FE2-4D3B-4BA0-B1CA-B005C2C9A0D4}" dt="2019-11-27T00:15:26.920" v="259" actId="47"/>
          <pc:sldLayoutMkLst>
            <pc:docMk/>
            <pc:sldMasterMk cId="1042435122" sldId="2147484103"/>
            <pc:sldLayoutMk cId="1698582105" sldId="2147484163"/>
          </pc:sldLayoutMkLst>
        </pc:sldLayoutChg>
        <pc:sldLayoutChg chg="del">
          <pc:chgData name="Guilherme Maia" userId="fc649a62-ead7-4fa2-a922-e831243cf1e5" providerId="ADAL" clId="{5B731FE2-4D3B-4BA0-B1CA-B005C2C9A0D4}" dt="2019-11-27T00:15:30.838" v="260" actId="47"/>
          <pc:sldLayoutMkLst>
            <pc:docMk/>
            <pc:sldMasterMk cId="1042435122" sldId="2147484103"/>
            <pc:sldLayoutMk cId="1855724497" sldId="2147484165"/>
          </pc:sldLayoutMkLst>
        </pc:sldLayoutChg>
        <pc:sldLayoutChg chg="del">
          <pc:chgData name="Guilherme Maia" userId="fc649a62-ead7-4fa2-a922-e831243cf1e5" providerId="ADAL" clId="{5B731FE2-4D3B-4BA0-B1CA-B005C2C9A0D4}" dt="2019-11-27T00:16:05.720" v="270" actId="47"/>
          <pc:sldLayoutMkLst>
            <pc:docMk/>
            <pc:sldMasterMk cId="1042435122" sldId="2147484103"/>
            <pc:sldLayoutMk cId="231183116" sldId="2147484166"/>
          </pc:sldLayoutMkLst>
        </pc:sldLayoutChg>
        <pc:sldLayoutChg chg="add del">
          <pc:chgData name="Guilherme Maia" userId="fc649a62-ead7-4fa2-a922-e831243cf1e5" providerId="ADAL" clId="{5B731FE2-4D3B-4BA0-B1CA-B005C2C9A0D4}" dt="2019-11-27T00:16:45.262" v="284" actId="47"/>
          <pc:sldLayoutMkLst>
            <pc:docMk/>
            <pc:sldMasterMk cId="1042435122" sldId="2147484103"/>
            <pc:sldLayoutMk cId="2249819095" sldId="2147484167"/>
          </pc:sldLayoutMkLst>
        </pc:sldLayoutChg>
        <pc:sldLayoutChg chg="add del">
          <pc:chgData name="Guilherme Maia" userId="fc649a62-ead7-4fa2-a922-e831243cf1e5" providerId="ADAL" clId="{5B731FE2-4D3B-4BA0-B1CA-B005C2C9A0D4}" dt="2019-11-27T00:16:44.562" v="283" actId="47"/>
          <pc:sldLayoutMkLst>
            <pc:docMk/>
            <pc:sldMasterMk cId="1042435122" sldId="2147484103"/>
            <pc:sldLayoutMk cId="3848440538" sldId="2147484168"/>
          </pc:sldLayoutMkLst>
        </pc:sldLayoutChg>
        <pc:sldLayoutChg chg="add del">
          <pc:chgData name="Guilherme Maia" userId="fc649a62-ead7-4fa2-a922-e831243cf1e5" providerId="ADAL" clId="{5B731FE2-4D3B-4BA0-B1CA-B005C2C9A0D4}" dt="2019-11-27T00:16:30.307" v="280" actId="47"/>
          <pc:sldLayoutMkLst>
            <pc:docMk/>
            <pc:sldMasterMk cId="1042435122" sldId="2147484103"/>
            <pc:sldLayoutMk cId="1106075836" sldId="2147484169"/>
          </pc:sldLayoutMkLst>
        </pc:sldLayoutChg>
        <pc:sldLayoutChg chg="add del">
          <pc:chgData name="Guilherme Maia" userId="fc649a62-ead7-4fa2-a922-e831243cf1e5" providerId="ADAL" clId="{5B731FE2-4D3B-4BA0-B1CA-B005C2C9A0D4}" dt="2019-11-27T00:17:12.735" v="292" actId="47"/>
          <pc:sldLayoutMkLst>
            <pc:docMk/>
            <pc:sldMasterMk cId="1042435122" sldId="2147484103"/>
            <pc:sldLayoutMk cId="2594654082" sldId="2147484170"/>
          </pc:sldLayoutMkLst>
        </pc:sldLayoutChg>
        <pc:sldLayoutChg chg="add del">
          <pc:chgData name="Guilherme Maia" userId="fc649a62-ead7-4fa2-a922-e831243cf1e5" providerId="ADAL" clId="{5B731FE2-4D3B-4BA0-B1CA-B005C2C9A0D4}" dt="2019-11-27T00:17:13.503" v="293" actId="47"/>
          <pc:sldLayoutMkLst>
            <pc:docMk/>
            <pc:sldMasterMk cId="1042435122" sldId="2147484103"/>
            <pc:sldLayoutMk cId="2889459647" sldId="2147484171"/>
          </pc:sldLayoutMkLst>
        </pc:sldLayoutChg>
        <pc:sldLayoutChg chg="add del">
          <pc:chgData name="Guilherme Maia" userId="fc649a62-ead7-4fa2-a922-e831243cf1e5" providerId="ADAL" clId="{5B731FE2-4D3B-4BA0-B1CA-B005C2C9A0D4}" dt="2019-11-27T00:16:19.641" v="277" actId="47"/>
          <pc:sldLayoutMkLst>
            <pc:docMk/>
            <pc:sldMasterMk cId="1042435122" sldId="2147484103"/>
            <pc:sldLayoutMk cId="2529226088" sldId="2147484172"/>
          </pc:sldLayoutMkLst>
        </pc:sldLayoutChg>
        <pc:sldLayoutChg chg="del">
          <pc:chgData name="Guilherme Maia" userId="fc649a62-ead7-4fa2-a922-e831243cf1e5" providerId="ADAL" clId="{5B731FE2-4D3B-4BA0-B1CA-B005C2C9A0D4}" dt="2019-11-27T00:17:40.913" v="301" actId="47"/>
          <pc:sldLayoutMkLst>
            <pc:docMk/>
            <pc:sldMasterMk cId="1042435122" sldId="2147484103"/>
            <pc:sldLayoutMk cId="2033285456" sldId="2147484173"/>
          </pc:sldLayoutMkLst>
        </pc:sldLayoutChg>
        <pc:sldLayoutChg chg="del">
          <pc:chgData name="Guilherme Maia" userId="fc649a62-ead7-4fa2-a922-e831243cf1e5" providerId="ADAL" clId="{5B731FE2-4D3B-4BA0-B1CA-B005C2C9A0D4}" dt="2019-11-27T00:17:41.755" v="302" actId="47"/>
          <pc:sldLayoutMkLst>
            <pc:docMk/>
            <pc:sldMasterMk cId="1042435122" sldId="2147484103"/>
            <pc:sldLayoutMk cId="2394002905" sldId="2147484174"/>
          </pc:sldLayoutMkLst>
        </pc:sldLayoutChg>
        <pc:sldLayoutChg chg="del">
          <pc:chgData name="Guilherme Maia" userId="fc649a62-ead7-4fa2-a922-e831243cf1e5" providerId="ADAL" clId="{5B731FE2-4D3B-4BA0-B1CA-B005C2C9A0D4}" dt="2019-11-27T00:17:43.852" v="304" actId="47"/>
          <pc:sldLayoutMkLst>
            <pc:docMk/>
            <pc:sldMasterMk cId="1042435122" sldId="2147484103"/>
            <pc:sldLayoutMk cId="3653144918" sldId="2147484175"/>
          </pc:sldLayoutMkLst>
        </pc:sldLayoutChg>
        <pc:sldLayoutChg chg="del">
          <pc:chgData name="Guilherme Maia" userId="fc649a62-ead7-4fa2-a922-e831243cf1e5" providerId="ADAL" clId="{5B731FE2-4D3B-4BA0-B1CA-B005C2C9A0D4}" dt="2019-11-27T00:19:34.069" v="332" actId="47"/>
          <pc:sldLayoutMkLst>
            <pc:docMk/>
            <pc:sldMasterMk cId="1042435122" sldId="2147484103"/>
            <pc:sldLayoutMk cId="1380067522" sldId="2147484179"/>
          </pc:sldLayoutMkLst>
        </pc:sldLayoutChg>
      </pc:sldMasterChg>
    </pc:docChg>
  </pc:docChgLst>
  <pc:docChgLst>
    <pc:chgData name="Guilherme Maia" userId="fc649a62-ead7-4fa2-a922-e831243cf1e5" providerId="ADAL" clId="{61599623-75EA-465E-9F7F-AC280C0E2B38}"/>
    <pc:docChg chg="undo custSel addSld delSld modSld sldOrd">
      <pc:chgData name="Guilherme Maia" userId="fc649a62-ead7-4fa2-a922-e831243cf1e5" providerId="ADAL" clId="{61599623-75EA-465E-9F7F-AC280C0E2B38}" dt="2019-10-30T02:43:49.970" v="184"/>
      <pc:docMkLst>
        <pc:docMk/>
      </pc:docMkLst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2945425769" sldId="276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1974478059" sldId="277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167094349" sldId="280"/>
        </pc:sldMkLst>
      </pc:sldChg>
      <pc:sldChg chg="modTransition">
        <pc:chgData name="Guilherme Maia" userId="fc649a62-ead7-4fa2-a922-e831243cf1e5" providerId="ADAL" clId="{61599623-75EA-465E-9F7F-AC280C0E2B38}" dt="2019-10-30T00:04:26.855" v="74"/>
        <pc:sldMkLst>
          <pc:docMk/>
          <pc:sldMk cId="2901408998" sldId="284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3122633258" sldId="314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3303116671" sldId="316"/>
        </pc:sldMkLst>
      </pc:sldChg>
      <pc:sldChg chg="modTransition">
        <pc:chgData name="Guilherme Maia" userId="fc649a62-ead7-4fa2-a922-e831243cf1e5" providerId="ADAL" clId="{61599623-75EA-465E-9F7F-AC280C0E2B38}" dt="2019-10-30T00:04:37.351" v="77"/>
        <pc:sldMkLst>
          <pc:docMk/>
          <pc:sldMk cId="1870651983" sldId="318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176639409" sldId="332"/>
        </pc:sldMkLst>
      </pc:sldChg>
      <pc:sldChg chg="addSp delSp modSp add del">
        <pc:chgData name="Guilherme Maia" userId="fc649a62-ead7-4fa2-a922-e831243cf1e5" providerId="ADAL" clId="{61599623-75EA-465E-9F7F-AC280C0E2B38}" dt="2019-10-30T00:10:43.976" v="176"/>
        <pc:sldMkLst>
          <pc:docMk/>
          <pc:sldMk cId="199493440" sldId="643"/>
        </pc:sldMkLst>
        <pc:spChg chg="del mod">
          <ac:chgData name="Guilherme Maia" userId="fc649a62-ead7-4fa2-a922-e831243cf1e5" providerId="ADAL" clId="{61599623-75EA-465E-9F7F-AC280C0E2B38}" dt="2019-10-30T00:10:27.221" v="171" actId="478"/>
          <ac:spMkLst>
            <pc:docMk/>
            <pc:sldMk cId="199493440" sldId="643"/>
            <ac:spMk id="2" creationId="{00000000-0000-0000-0000-000000000000}"/>
          </ac:spMkLst>
        </pc:spChg>
        <pc:spChg chg="add del mod">
          <ac:chgData name="Guilherme Maia" userId="fc649a62-ead7-4fa2-a922-e831243cf1e5" providerId="ADAL" clId="{61599623-75EA-465E-9F7F-AC280C0E2B38}" dt="2019-10-30T00:10:30.526" v="173" actId="478"/>
          <ac:spMkLst>
            <pc:docMk/>
            <pc:sldMk cId="199493440" sldId="643"/>
            <ac:spMk id="4" creationId="{031E6625-EDD3-42F7-A546-0010F8AC8FF3}"/>
          </ac:spMkLst>
        </pc:spChg>
        <pc:spChg chg="add del mod">
          <ac:chgData name="Guilherme Maia" userId="fc649a62-ead7-4fa2-a922-e831243cf1e5" providerId="ADAL" clId="{61599623-75EA-465E-9F7F-AC280C0E2B38}" dt="2019-10-30T00:10:43.976" v="176"/>
          <ac:spMkLst>
            <pc:docMk/>
            <pc:sldMk cId="199493440" sldId="643"/>
            <ac:spMk id="5" creationId="{7DA6E9CF-811D-4A6B-B9A1-6BAB032D4B48}"/>
          </ac:spMkLst>
        </pc:spChg>
        <pc:spChg chg="add del mod">
          <ac:chgData name="Guilherme Maia" userId="fc649a62-ead7-4fa2-a922-e831243cf1e5" providerId="ADAL" clId="{61599623-75EA-465E-9F7F-AC280C0E2B38}" dt="2019-10-30T00:10:43.976" v="176"/>
          <ac:spMkLst>
            <pc:docMk/>
            <pc:sldMk cId="199493440" sldId="643"/>
            <ac:spMk id="6" creationId="{FC65F927-49CD-4FBB-89F8-6A4985BA612B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10" creationId="{00000000-0000-0000-0000-000000000000}"/>
          </ac:spMkLst>
        </pc:spChg>
        <pc:spChg chg="add 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51" creationId="{93E70C01-E572-4DB3-B92C-269D02619E26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94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96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139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141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142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10:33.334" v="174" actId="207"/>
          <ac:spMkLst>
            <pc:docMk/>
            <pc:sldMk cId="199493440" sldId="643"/>
            <ac:spMk id="143" creationId="{00000000-0000-0000-0000-000000000000}"/>
          </ac:spMkLst>
        </pc:spChg>
        <pc:grpChg chg="mod">
          <ac:chgData name="Guilherme Maia" userId="fc649a62-ead7-4fa2-a922-e831243cf1e5" providerId="ADAL" clId="{61599623-75EA-465E-9F7F-AC280C0E2B38}" dt="2019-10-30T00:10:33.334" v="174" actId="207"/>
          <ac:grpSpMkLst>
            <pc:docMk/>
            <pc:sldMk cId="199493440" sldId="643"/>
            <ac:grpSpMk id="97" creationId="{00000000-0000-0000-0000-000000000000}"/>
          </ac:grpSpMkLst>
        </pc:grpChg>
        <pc:picChg chg="mod">
          <ac:chgData name="Guilherme Maia" userId="fc649a62-ead7-4fa2-a922-e831243cf1e5" providerId="ADAL" clId="{61599623-75EA-465E-9F7F-AC280C0E2B38}" dt="2019-10-30T00:10:33.334" v="174" actId="207"/>
          <ac:picMkLst>
            <pc:docMk/>
            <pc:sldMk cId="199493440" sldId="643"/>
            <ac:picMk id="95" creationId="{00000000-0000-0000-0000-000000000000}"/>
          </ac:picMkLst>
        </pc:picChg>
        <pc:picChg chg="mod">
          <ac:chgData name="Guilherme Maia" userId="fc649a62-ead7-4fa2-a922-e831243cf1e5" providerId="ADAL" clId="{61599623-75EA-465E-9F7F-AC280C0E2B38}" dt="2019-10-30T00:10:33.334" v="174" actId="207"/>
          <ac:picMkLst>
            <pc:docMk/>
            <pc:sldMk cId="199493440" sldId="643"/>
            <ac:picMk id="140" creationId="{00000000-0000-0000-0000-000000000000}"/>
          </ac:picMkLst>
        </pc:picChg>
      </pc:sldChg>
      <pc:sldChg chg="addSp delSp modSp add del">
        <pc:chgData name="Guilherme Maia" userId="fc649a62-ead7-4fa2-a922-e831243cf1e5" providerId="ADAL" clId="{61599623-75EA-465E-9F7F-AC280C0E2B38}" dt="2019-10-30T00:08:19.438" v="122" actId="478"/>
        <pc:sldMkLst>
          <pc:docMk/>
          <pc:sldMk cId="2992416307" sldId="644"/>
        </pc:sldMkLst>
        <pc:spChg chg="del mod">
          <ac:chgData name="Guilherme Maia" userId="fc649a62-ead7-4fa2-a922-e831243cf1e5" providerId="ADAL" clId="{61599623-75EA-465E-9F7F-AC280C0E2B38}" dt="2019-10-30T00:08:19.438" v="122" actId="478"/>
          <ac:spMkLst>
            <pc:docMk/>
            <pc:sldMk cId="2992416307" sldId="644"/>
            <ac:spMk id="2" creationId="{00000000-0000-0000-0000-000000000000}"/>
          </ac:spMkLst>
        </pc:spChg>
        <pc:spChg chg="add del">
          <ac:chgData name="Guilherme Maia" userId="fc649a62-ead7-4fa2-a922-e831243cf1e5" providerId="ADAL" clId="{61599623-75EA-465E-9F7F-AC280C0E2B38}" dt="2019-10-30T00:07:39.967" v="100"/>
          <ac:spMkLst>
            <pc:docMk/>
            <pc:sldMk cId="2992416307" sldId="644"/>
            <ac:spMk id="5" creationId="{7131D694-2642-449C-85B4-50BC476B6C9E}"/>
          </ac:spMkLst>
        </pc:spChg>
        <pc:spChg chg="add mod">
          <ac:chgData name="Guilherme Maia" userId="fc649a62-ead7-4fa2-a922-e831243cf1e5" providerId="ADAL" clId="{61599623-75EA-465E-9F7F-AC280C0E2B38}" dt="2019-10-30T00:08:07.634" v="117" actId="27636"/>
          <ac:spMkLst>
            <pc:docMk/>
            <pc:sldMk cId="2992416307" sldId="644"/>
            <ac:spMk id="6" creationId="{8CBEA0B3-A05F-4EC2-9C23-6354DB55D6E0}"/>
          </ac:spMkLst>
        </pc:spChg>
        <pc:spChg chg="add mod">
          <ac:chgData name="Guilherme Maia" userId="fc649a62-ead7-4fa2-a922-e831243cf1e5" providerId="ADAL" clId="{61599623-75EA-465E-9F7F-AC280C0E2B38}" dt="2019-10-30T00:08:19.438" v="122" actId="478"/>
          <ac:spMkLst>
            <pc:docMk/>
            <pc:sldMk cId="2992416307" sldId="644"/>
            <ac:spMk id="7" creationId="{35B5778B-7B9F-45AF-927C-84B7955DCC5A}"/>
          </ac:spMkLst>
        </pc:spChg>
        <pc:picChg chg="mod">
          <ac:chgData name="Guilherme Maia" userId="fc649a62-ead7-4fa2-a922-e831243cf1e5" providerId="ADAL" clId="{61599623-75EA-465E-9F7F-AC280C0E2B38}" dt="2019-10-30T00:08:17.072" v="119" actId="1076"/>
          <ac:picMkLst>
            <pc:docMk/>
            <pc:sldMk cId="2992416307" sldId="644"/>
            <ac:picMk id="4" creationId="{00000000-0000-0000-0000-000000000000}"/>
          </ac:picMkLst>
        </pc:picChg>
      </pc:sldChg>
      <pc:sldChg chg="addSp delSp modSp add">
        <pc:chgData name="Guilherme Maia" userId="fc649a62-ead7-4fa2-a922-e831243cf1e5" providerId="ADAL" clId="{61599623-75EA-465E-9F7F-AC280C0E2B38}" dt="2019-10-30T00:05:59.405" v="89"/>
        <pc:sldMkLst>
          <pc:docMk/>
          <pc:sldMk cId="4053754234" sldId="784"/>
        </pc:sldMkLst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25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26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27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28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29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5:33.628" v="81" actId="2711"/>
          <ac:spMkLst>
            <pc:docMk/>
            <pc:sldMk cId="4053754234" sldId="784"/>
            <ac:spMk id="30" creationId="{00000000-0000-0000-0000-000000000000}"/>
          </ac:spMkLst>
        </pc:spChg>
        <pc:spChg chg="del mod">
          <ac:chgData name="Guilherme Maia" userId="fc649a62-ead7-4fa2-a922-e831243cf1e5" providerId="ADAL" clId="{61599623-75EA-465E-9F7F-AC280C0E2B38}" dt="2019-10-30T00:05:51.133" v="87" actId="478"/>
          <ac:spMkLst>
            <pc:docMk/>
            <pc:sldMk cId="4053754234" sldId="784"/>
            <ac:spMk id="31" creationId="{00000000-0000-0000-0000-000000000000}"/>
          </ac:spMkLst>
        </pc:spChg>
        <pc:spChg chg="add mod">
          <ac:chgData name="Guilherme Maia" userId="fc649a62-ead7-4fa2-a922-e831243cf1e5" providerId="ADAL" clId="{61599623-75EA-465E-9F7F-AC280C0E2B38}" dt="2019-10-30T00:05:59.405" v="89"/>
          <ac:spMkLst>
            <pc:docMk/>
            <pc:sldMk cId="4053754234" sldId="784"/>
            <ac:spMk id="32" creationId="{A426D90B-7278-4B7F-9E25-E8ECD0FCDBD1}"/>
          </ac:spMkLst>
        </pc:spChg>
        <pc:grpChg chg="mod">
          <ac:chgData name="Guilherme Maia" userId="fc649a62-ead7-4fa2-a922-e831243cf1e5" providerId="ADAL" clId="{61599623-75EA-465E-9F7F-AC280C0E2B38}" dt="2019-10-30T00:05:33.628" v="81" actId="2711"/>
          <ac:grpSpMkLst>
            <pc:docMk/>
            <pc:sldMk cId="4053754234" sldId="784"/>
            <ac:grpSpMk id="4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5:33.628" v="81" actId="2711"/>
          <ac:grpSpMkLst>
            <pc:docMk/>
            <pc:sldMk cId="4053754234" sldId="784"/>
            <ac:grpSpMk id="10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5:33.628" v="81" actId="2711"/>
          <ac:grpSpMkLst>
            <pc:docMk/>
            <pc:sldMk cId="4053754234" sldId="784"/>
            <ac:grpSpMk id="15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5:33.628" v="81" actId="2711"/>
          <ac:grpSpMkLst>
            <pc:docMk/>
            <pc:sldMk cId="4053754234" sldId="784"/>
            <ac:grpSpMk id="21" creationId="{00000000-0000-0000-0000-000000000000}"/>
          </ac:grpSpMkLst>
        </pc:grpChg>
      </pc:sldChg>
      <pc:sldChg chg="addSp delSp modSp add del">
        <pc:chgData name="Guilherme Maia" userId="fc649a62-ead7-4fa2-a922-e831243cf1e5" providerId="ADAL" clId="{61599623-75EA-465E-9F7F-AC280C0E2B38}" dt="2019-10-30T00:09:34.525" v="164" actId="20577"/>
        <pc:sldMkLst>
          <pc:docMk/>
          <pc:sldMk cId="3541308485" sldId="857"/>
        </pc:sldMkLst>
        <pc:spChg chg="del mod">
          <ac:chgData name="Guilherme Maia" userId="fc649a62-ead7-4fa2-a922-e831243cf1e5" providerId="ADAL" clId="{61599623-75EA-465E-9F7F-AC280C0E2B38}" dt="2019-10-30T00:09:05.971" v="135" actId="478"/>
          <ac:spMkLst>
            <pc:docMk/>
            <pc:sldMk cId="3541308485" sldId="857"/>
            <ac:spMk id="2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4" creationId="{00000000-0000-0000-0000-000000000000}"/>
          </ac:spMkLst>
        </pc:spChg>
        <pc:spChg chg="add del mod">
          <ac:chgData name="Guilherme Maia" userId="fc649a62-ead7-4fa2-a922-e831243cf1e5" providerId="ADAL" clId="{61599623-75EA-465E-9F7F-AC280C0E2B38}" dt="2019-10-30T00:09:07.670" v="138" actId="478"/>
          <ac:spMkLst>
            <pc:docMk/>
            <pc:sldMk cId="3541308485" sldId="857"/>
            <ac:spMk id="6" creationId="{24DCC9E6-F534-4098-8FA9-3B220C2A2669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26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39.806" v="126" actId="207"/>
          <ac:spMkLst>
            <pc:docMk/>
            <pc:sldMk cId="3541308485" sldId="857"/>
            <ac:spMk id="28" creationId="{00000000-0000-0000-0000-000000000000}"/>
          </ac:spMkLst>
        </pc:spChg>
        <pc:spChg chg="add mod">
          <ac:chgData name="Guilherme Maia" userId="fc649a62-ead7-4fa2-a922-e831243cf1e5" providerId="ADAL" clId="{61599623-75EA-465E-9F7F-AC280C0E2B38}" dt="2019-10-30T00:09:34.525" v="164" actId="20577"/>
          <ac:spMkLst>
            <pc:docMk/>
            <pc:sldMk cId="3541308485" sldId="857"/>
            <ac:spMk id="41" creationId="{ECEADD84-45B6-4F94-AFE8-8E6D687BD22F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48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52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33.574" v="124" actId="207"/>
          <ac:spMkLst>
            <pc:docMk/>
            <pc:sldMk cId="3541308485" sldId="857"/>
            <ac:spMk id="65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69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73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74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9.332" v="129" actId="2711"/>
          <ac:spMkLst>
            <pc:docMk/>
            <pc:sldMk cId="3541308485" sldId="857"/>
            <ac:spMk id="75" creationId="{00000000-0000-0000-0000-000000000000}"/>
          </ac:spMkLst>
        </pc:spChg>
        <pc:spChg chg="mod">
          <ac:chgData name="Guilherme Maia" userId="fc649a62-ead7-4fa2-a922-e831243cf1e5" providerId="ADAL" clId="{61599623-75EA-465E-9F7F-AC280C0E2B38}" dt="2019-10-30T00:08:44.734" v="128" actId="207"/>
          <ac:spMkLst>
            <pc:docMk/>
            <pc:sldMk cId="3541308485" sldId="857"/>
            <ac:spMk id="77" creationId="{00000000-0000-0000-0000-000000000000}"/>
          </ac:spMkLst>
        </pc:s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34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45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49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60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64" creationId="{00000000-0000-0000-0000-000000000000}"/>
          </ac:grpSpMkLst>
        </pc:grpChg>
        <pc:grpChg chg="mod">
          <ac:chgData name="Guilherme Maia" userId="fc649a62-ead7-4fa2-a922-e831243cf1e5" providerId="ADAL" clId="{61599623-75EA-465E-9F7F-AC280C0E2B38}" dt="2019-10-30T00:08:49.332" v="129" actId="2711"/>
          <ac:grpSpMkLst>
            <pc:docMk/>
            <pc:sldMk cId="3541308485" sldId="857"/>
            <ac:grpSpMk id="76" creationId="{00000000-0000-0000-0000-000000000000}"/>
          </ac:grpSpMkLst>
        </pc:grpChg>
        <pc:picChg chg="mod">
          <ac:chgData name="Guilherme Maia" userId="fc649a62-ead7-4fa2-a922-e831243cf1e5" providerId="ADAL" clId="{61599623-75EA-465E-9F7F-AC280C0E2B38}" dt="2019-10-30T00:08:49.332" v="129" actId="2711"/>
          <ac:picMkLst>
            <pc:docMk/>
            <pc:sldMk cId="3541308485" sldId="857"/>
            <ac:picMk id="12" creationId="{00000000-0000-0000-0000-000000000000}"/>
          </ac:picMkLst>
        </pc:picChg>
        <pc:picChg chg="mod">
          <ac:chgData name="Guilherme Maia" userId="fc649a62-ead7-4fa2-a922-e831243cf1e5" providerId="ADAL" clId="{61599623-75EA-465E-9F7F-AC280C0E2B38}" dt="2019-10-30T00:08:49.332" v="129" actId="2711"/>
          <ac:picMkLst>
            <pc:docMk/>
            <pc:sldMk cId="3541308485" sldId="857"/>
            <ac:picMk id="46" creationId="{00000000-0000-0000-0000-000000000000}"/>
          </ac:picMkLst>
        </pc:picChg>
        <pc:picChg chg="mod">
          <ac:chgData name="Guilherme Maia" userId="fc649a62-ead7-4fa2-a922-e831243cf1e5" providerId="ADAL" clId="{61599623-75EA-465E-9F7F-AC280C0E2B38}" dt="2019-10-30T00:08:49.332" v="129" actId="2711"/>
          <ac:picMkLst>
            <pc:docMk/>
            <pc:sldMk cId="3541308485" sldId="857"/>
            <ac:picMk id="47" creationId="{00000000-0000-0000-0000-000000000000}"/>
          </ac:picMkLst>
        </pc:picChg>
        <pc:picChg chg="mod">
          <ac:chgData name="Guilherme Maia" userId="fc649a62-ead7-4fa2-a922-e831243cf1e5" providerId="ADAL" clId="{61599623-75EA-465E-9F7F-AC280C0E2B38}" dt="2019-10-30T00:08:49.332" v="129" actId="2711"/>
          <ac:picMkLst>
            <pc:docMk/>
            <pc:sldMk cId="3541308485" sldId="857"/>
            <ac:picMk id="79" creationId="{00000000-0000-0000-0000-000000000000}"/>
          </ac:picMkLst>
        </pc:picChg>
        <pc:cxnChg chg="mod">
          <ac:chgData name="Guilherme Maia" userId="fc649a62-ead7-4fa2-a922-e831243cf1e5" providerId="ADAL" clId="{61599623-75EA-465E-9F7F-AC280C0E2B38}" dt="2019-10-30T00:08:49.332" v="129" actId="2711"/>
          <ac:cxnSpMkLst>
            <pc:docMk/>
            <pc:sldMk cId="3541308485" sldId="857"/>
            <ac:cxnSpMk id="5" creationId="{00000000-0000-0000-0000-000000000000}"/>
          </ac:cxnSpMkLst>
        </pc:cxnChg>
        <pc:cxnChg chg="mod">
          <ac:chgData name="Guilherme Maia" userId="fc649a62-ead7-4fa2-a922-e831243cf1e5" providerId="ADAL" clId="{61599623-75EA-465E-9F7F-AC280C0E2B38}" dt="2019-10-30T00:08:49.332" v="129" actId="2711"/>
          <ac:cxnSpMkLst>
            <pc:docMk/>
            <pc:sldMk cId="3541308485" sldId="857"/>
            <ac:cxnSpMk id="44" creationId="{00000000-0000-0000-0000-000000000000}"/>
          </ac:cxnSpMkLst>
        </pc:cxnChg>
      </pc:sldChg>
      <pc:sldChg chg="addSp delSp ord">
        <pc:chgData name="Guilherme Maia" userId="fc649a62-ead7-4fa2-a922-e831243cf1e5" providerId="ADAL" clId="{61599623-75EA-465E-9F7F-AC280C0E2B38}" dt="2019-10-30T00:07:15.400" v="96"/>
        <pc:sldMkLst>
          <pc:docMk/>
          <pc:sldMk cId="1059281245" sldId="1367"/>
        </pc:sldMkLst>
        <pc:spChg chg="add del">
          <ac:chgData name="Guilherme Maia" userId="fc649a62-ead7-4fa2-a922-e831243cf1e5" providerId="ADAL" clId="{61599623-75EA-465E-9F7F-AC280C0E2B38}" dt="2019-10-30T00:05:17.390" v="79"/>
          <ac:spMkLst>
            <pc:docMk/>
            <pc:sldMk cId="1059281245" sldId="1367"/>
            <ac:spMk id="3" creationId="{E1A5246F-4F7B-433E-AF17-63AD64A2705F}"/>
          </ac:spMkLst>
        </pc:spChg>
        <pc:picChg chg="add del">
          <ac:chgData name="Guilherme Maia" userId="fc649a62-ead7-4fa2-a922-e831243cf1e5" providerId="ADAL" clId="{61599623-75EA-465E-9F7F-AC280C0E2B38}" dt="2019-10-30T00:07:15.400" v="96"/>
          <ac:picMkLst>
            <pc:docMk/>
            <pc:sldMk cId="1059281245" sldId="1367"/>
            <ac:picMk id="4" creationId="{01799200-A0F0-432F-B5D5-2CFC8AA03D0D}"/>
          </ac:picMkLst>
        </pc:picChg>
      </pc:sldChg>
      <pc:sldChg chg="modTransition">
        <pc:chgData name="Guilherme Maia" userId="fc649a62-ead7-4fa2-a922-e831243cf1e5" providerId="ADAL" clId="{61599623-75EA-465E-9F7F-AC280C0E2B38}" dt="2019-10-30T00:10:50.100" v="177"/>
        <pc:sldMkLst>
          <pc:docMk/>
          <pc:sldMk cId="2722438057" sldId="1368"/>
        </pc:sldMkLst>
      </pc:sldChg>
      <pc:sldChg chg="modTransition">
        <pc:chgData name="Guilherme Maia" userId="fc649a62-ead7-4fa2-a922-e831243cf1e5" providerId="ADAL" clId="{61599623-75EA-465E-9F7F-AC280C0E2B38}" dt="2019-10-30T00:10:51.496" v="178"/>
        <pc:sldMkLst>
          <pc:docMk/>
          <pc:sldMk cId="3865887245" sldId="1369"/>
        </pc:sldMkLst>
      </pc:sldChg>
      <pc:sldChg chg="modTransition">
        <pc:chgData name="Guilherme Maia" userId="fc649a62-ead7-4fa2-a922-e831243cf1e5" providerId="ADAL" clId="{61599623-75EA-465E-9F7F-AC280C0E2B38}" dt="2019-10-30T00:10:54.888" v="180"/>
        <pc:sldMkLst>
          <pc:docMk/>
          <pc:sldMk cId="1748817433" sldId="1371"/>
        </pc:sldMkLst>
      </pc:sldChg>
      <pc:sldChg chg="modTransition">
        <pc:chgData name="Guilherme Maia" userId="fc649a62-ead7-4fa2-a922-e831243cf1e5" providerId="ADAL" clId="{61599623-75EA-465E-9F7F-AC280C0E2B38}" dt="2019-10-30T00:10:53.224" v="179"/>
        <pc:sldMkLst>
          <pc:docMk/>
          <pc:sldMk cId="1116025545" sldId="1397"/>
        </pc:sldMkLst>
      </pc:sldChg>
      <pc:sldChg chg="modSp ord modTransition modAnim">
        <pc:chgData name="Guilherme Maia" userId="fc649a62-ead7-4fa2-a922-e831243cf1e5" providerId="ADAL" clId="{61599623-75EA-465E-9F7F-AC280C0E2B38}" dt="2019-10-30T00:11:17.697" v="182"/>
        <pc:sldMkLst>
          <pc:docMk/>
          <pc:sldMk cId="3646394226" sldId="10481"/>
        </pc:sldMkLst>
        <pc:spChg chg="mod">
          <ac:chgData name="Guilherme Maia" userId="fc649a62-ead7-4fa2-a922-e831243cf1e5" providerId="ADAL" clId="{61599623-75EA-465E-9F7F-AC280C0E2B38}" dt="2019-10-29T21:14:19.731" v="69" actId="1076"/>
          <ac:spMkLst>
            <pc:docMk/>
            <pc:sldMk cId="3646394226" sldId="10481"/>
            <ac:spMk id="2" creationId="{00000000-0000-0000-0000-000000000000}"/>
          </ac:spMkLst>
        </pc:spChg>
      </pc:sldChg>
      <pc:sldChg chg="modTransition">
        <pc:chgData name="Guilherme Maia" userId="fc649a62-ead7-4fa2-a922-e831243cf1e5" providerId="ADAL" clId="{61599623-75EA-465E-9F7F-AC280C0E2B38}" dt="2019-10-30T00:04:34.846" v="76"/>
        <pc:sldMkLst>
          <pc:docMk/>
          <pc:sldMk cId="2513096043" sldId="10482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4002716965" sldId="10483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946586403" sldId="10484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3811593456" sldId="10485"/>
        </pc:sldMkLst>
      </pc:sldChg>
      <pc:sldChg chg="modSp">
        <pc:chgData name="Guilherme Maia" userId="fc649a62-ead7-4fa2-a922-e831243cf1e5" providerId="ADAL" clId="{61599623-75EA-465E-9F7F-AC280C0E2B38}" dt="2019-10-29T21:14:29.085" v="72" actId="255"/>
        <pc:sldMkLst>
          <pc:docMk/>
          <pc:sldMk cId="825661535" sldId="10491"/>
        </pc:sldMkLst>
        <pc:spChg chg="mod">
          <ac:chgData name="Guilherme Maia" userId="fc649a62-ead7-4fa2-a922-e831243cf1e5" providerId="ADAL" clId="{61599623-75EA-465E-9F7F-AC280C0E2B38}" dt="2019-10-29T21:14:29.085" v="72" actId="255"/>
          <ac:spMkLst>
            <pc:docMk/>
            <pc:sldMk cId="825661535" sldId="10491"/>
            <ac:spMk id="2" creationId="{00000000-0000-0000-0000-000000000000}"/>
          </ac:spMkLst>
        </pc:spChg>
      </pc:sldChg>
      <pc:sldChg chg="addSp delSp modSp delAnim modAnim">
        <pc:chgData name="Guilherme Maia" userId="fc649a62-ead7-4fa2-a922-e831243cf1e5" providerId="ADAL" clId="{61599623-75EA-465E-9F7F-AC280C0E2B38}" dt="2019-10-29T21:13:38.193" v="49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61599623-75EA-465E-9F7F-AC280C0E2B38}" dt="2019-10-29T21:13:38.193" v="49" actId="20577"/>
          <ac:spMkLst>
            <pc:docMk/>
            <pc:sldMk cId="2796991040" sldId="10494"/>
            <ac:spMk id="2" creationId="{00000000-0000-0000-0000-000000000000}"/>
          </ac:spMkLst>
        </pc:spChg>
        <pc:spChg chg="del">
          <ac:chgData name="Guilherme Maia" userId="fc649a62-ead7-4fa2-a922-e831243cf1e5" providerId="ADAL" clId="{61599623-75EA-465E-9F7F-AC280C0E2B38}" dt="2019-10-29T21:12:16.913" v="19" actId="478"/>
          <ac:spMkLst>
            <pc:docMk/>
            <pc:sldMk cId="2796991040" sldId="10494"/>
            <ac:spMk id="4" creationId="{F7C69139-D35B-4C65-84D6-19E45E5EA65E}"/>
          </ac:spMkLst>
        </pc:spChg>
        <pc:graphicFrameChg chg="add del mod">
          <ac:chgData name="Guilherme Maia" userId="fc649a62-ead7-4fa2-a922-e831243cf1e5" providerId="ADAL" clId="{61599623-75EA-465E-9F7F-AC280C0E2B38}" dt="2019-10-29T21:11:56.330" v="1" actId="478"/>
          <ac:graphicFrameMkLst>
            <pc:docMk/>
            <pc:sldMk cId="2796991040" sldId="10494"/>
            <ac:graphicFrameMk id="5" creationId="{576FB6BE-DCFC-4A49-B4EE-156D14524352}"/>
          </ac:graphicFrameMkLst>
        </pc:graphicFrameChg>
      </pc:sldChg>
      <pc:sldChg chg="delSp del modTransition">
        <pc:chgData name="Guilherme Maia" userId="fc649a62-ead7-4fa2-a922-e831243cf1e5" providerId="ADAL" clId="{61599623-75EA-465E-9F7F-AC280C0E2B38}" dt="2019-10-29T21:14:32.094" v="73" actId="47"/>
        <pc:sldMkLst>
          <pc:docMk/>
          <pc:sldMk cId="3657205614" sldId="10495"/>
        </pc:sldMkLst>
        <pc:picChg chg="del">
          <ac:chgData name="Guilherme Maia" userId="fc649a62-ead7-4fa2-a922-e831243cf1e5" providerId="ADAL" clId="{61599623-75EA-465E-9F7F-AC280C0E2B38}" dt="2019-10-29T21:13:19.608" v="32" actId="478"/>
          <ac:picMkLst>
            <pc:docMk/>
            <pc:sldMk cId="3657205614" sldId="10495"/>
            <ac:picMk id="6" creationId="{BF40CB71-F8CC-4E86-B6A9-AC0915F52D48}"/>
          </ac:picMkLst>
        </pc:picChg>
      </pc:sldChg>
      <pc:sldChg chg="modTransition">
        <pc:chgData name="Guilherme Maia" userId="fc649a62-ead7-4fa2-a922-e831243cf1e5" providerId="ADAL" clId="{61599623-75EA-465E-9F7F-AC280C0E2B38}" dt="2019-10-30T02:43:49.970" v="184"/>
        <pc:sldMkLst>
          <pc:docMk/>
          <pc:sldMk cId="2795239469" sldId="10496"/>
        </pc:sldMkLst>
      </pc:sldChg>
      <pc:sldChg chg="modTransition">
        <pc:chgData name="Guilherme Maia" userId="fc649a62-ead7-4fa2-a922-e831243cf1e5" providerId="ADAL" clId="{61599623-75EA-465E-9F7F-AC280C0E2B38}" dt="2019-10-30T02:43:48.406" v="183"/>
        <pc:sldMkLst>
          <pc:docMk/>
          <pc:sldMk cId="779464963" sldId="10497"/>
        </pc:sldMkLst>
      </pc:sldChg>
    </pc:docChg>
  </pc:docChgLst>
  <pc:docChgLst>
    <pc:chgData name="Guilherme Maia" userId="fc649a62-ead7-4fa2-a922-e831243cf1e5" providerId="ADAL" clId="{6CC9ABEA-9888-41B2-924C-D026491BDA58}"/>
    <pc:docChg chg="undo custSel addSld delSld modSld sldOrd">
      <pc:chgData name="Guilherme Maia" userId="fc649a62-ead7-4fa2-a922-e831243cf1e5" providerId="ADAL" clId="{6CC9ABEA-9888-41B2-924C-D026491BDA58}" dt="2019-12-17T14:21:41.936" v="1568" actId="20577"/>
      <pc:docMkLst>
        <pc:docMk/>
      </pc:docMkLst>
      <pc:sldChg chg="modSp add ord">
        <pc:chgData name="Guilherme Maia" userId="fc649a62-ead7-4fa2-a922-e831243cf1e5" providerId="ADAL" clId="{6CC9ABEA-9888-41B2-924C-D026491BDA58}" dt="2019-12-16T23:17:29.459" v="275"/>
        <pc:sldMkLst>
          <pc:docMk/>
          <pc:sldMk cId="4096563045" sldId="259"/>
        </pc:sldMkLst>
        <pc:spChg chg="mod">
          <ac:chgData name="Guilherme Maia" userId="fc649a62-ead7-4fa2-a922-e831243cf1e5" providerId="ADAL" clId="{6CC9ABEA-9888-41B2-924C-D026491BDA58}" dt="2019-12-16T23:17:29.459" v="275"/>
          <ac:spMkLst>
            <pc:docMk/>
            <pc:sldMk cId="4096563045" sldId="259"/>
            <ac:spMk id="2" creationId="{00000000-0000-0000-0000-000000000000}"/>
          </ac:spMkLst>
        </pc:spChg>
      </pc:sldChg>
      <pc:sldChg chg="del">
        <pc:chgData name="Guilherme Maia" userId="fc649a62-ead7-4fa2-a922-e831243cf1e5" providerId="ADAL" clId="{6CC9ABEA-9888-41B2-924C-D026491BDA58}" dt="2019-12-16T23:17:46.222" v="279" actId="47"/>
        <pc:sldMkLst>
          <pc:docMk/>
          <pc:sldMk cId="167094349" sldId="280"/>
        </pc:sldMkLst>
      </pc:sldChg>
      <pc:sldChg chg="del">
        <pc:chgData name="Guilherme Maia" userId="fc649a62-ead7-4fa2-a922-e831243cf1e5" providerId="ADAL" clId="{6CC9ABEA-9888-41B2-924C-D026491BDA58}" dt="2019-12-16T23:17:42.515" v="277" actId="47"/>
        <pc:sldMkLst>
          <pc:docMk/>
          <pc:sldMk cId="3122633258" sldId="314"/>
        </pc:sldMkLst>
      </pc:sldChg>
      <pc:sldChg chg="del">
        <pc:chgData name="Guilherme Maia" userId="fc649a62-ead7-4fa2-a922-e831243cf1e5" providerId="ADAL" clId="{6CC9ABEA-9888-41B2-924C-D026491BDA58}" dt="2019-12-16T23:17:43.948" v="278" actId="47"/>
        <pc:sldMkLst>
          <pc:docMk/>
          <pc:sldMk cId="3303116671" sldId="316"/>
        </pc:sldMkLst>
      </pc:sldChg>
      <pc:sldChg chg="del">
        <pc:chgData name="Guilherme Maia" userId="fc649a62-ead7-4fa2-a922-e831243cf1e5" providerId="ADAL" clId="{6CC9ABEA-9888-41B2-924C-D026491BDA58}" dt="2019-12-16T23:17:42.515" v="277" actId="47"/>
        <pc:sldMkLst>
          <pc:docMk/>
          <pc:sldMk cId="176639409" sldId="332"/>
        </pc:sldMkLst>
      </pc:sldChg>
      <pc:sldChg chg="add">
        <pc:chgData name="Guilherme Maia" userId="fc649a62-ead7-4fa2-a922-e831243cf1e5" providerId="ADAL" clId="{6CC9ABEA-9888-41B2-924C-D026491BDA58}" dt="2019-12-16T23:15:57.876" v="247"/>
        <pc:sldMkLst>
          <pc:docMk/>
          <pc:sldMk cId="3006928589" sldId="1360"/>
        </pc:sldMkLst>
      </pc:sldChg>
      <pc:sldChg chg="addSp modSp add">
        <pc:chgData name="Guilherme Maia" userId="fc649a62-ead7-4fa2-a922-e831243cf1e5" providerId="ADAL" clId="{6CC9ABEA-9888-41B2-924C-D026491BDA58}" dt="2019-12-16T23:23:54.099" v="332" actId="1076"/>
        <pc:sldMkLst>
          <pc:docMk/>
          <pc:sldMk cId="1059281245" sldId="1367"/>
        </pc:sldMkLst>
        <pc:grpChg chg="mod">
          <ac:chgData name="Guilherme Maia" userId="fc649a62-ead7-4fa2-a922-e831243cf1e5" providerId="ADAL" clId="{6CC9ABEA-9888-41B2-924C-D026491BDA58}" dt="2019-12-16T23:23:54.099" v="332" actId="1076"/>
          <ac:grpSpMkLst>
            <pc:docMk/>
            <pc:sldMk cId="1059281245" sldId="1367"/>
            <ac:grpSpMk id="80" creationId="{00000000-0000-0000-0000-000000000000}"/>
          </ac:grpSpMkLst>
        </pc:grpChg>
        <pc:grpChg chg="mod">
          <ac:chgData name="Guilherme Maia" userId="fc649a62-ead7-4fa2-a922-e831243cf1e5" providerId="ADAL" clId="{6CC9ABEA-9888-41B2-924C-D026491BDA58}" dt="2019-12-16T23:23:54.099" v="332" actId="1076"/>
          <ac:grpSpMkLst>
            <pc:docMk/>
            <pc:sldMk cId="1059281245" sldId="1367"/>
            <ac:grpSpMk id="81" creationId="{00000000-0000-0000-0000-000000000000}"/>
          </ac:grpSpMkLst>
        </pc:grpChg>
        <pc:grpChg chg="mod">
          <ac:chgData name="Guilherme Maia" userId="fc649a62-ead7-4fa2-a922-e831243cf1e5" providerId="ADAL" clId="{6CC9ABEA-9888-41B2-924C-D026491BDA58}" dt="2019-12-16T23:23:54.099" v="332" actId="1076"/>
          <ac:grpSpMkLst>
            <pc:docMk/>
            <pc:sldMk cId="1059281245" sldId="1367"/>
            <ac:grpSpMk id="82" creationId="{00000000-0000-0000-0000-000000000000}"/>
          </ac:grpSpMkLst>
        </pc:grpChg>
        <pc:picChg chg="add">
          <ac:chgData name="Guilherme Maia" userId="fc649a62-ead7-4fa2-a922-e831243cf1e5" providerId="ADAL" clId="{6CC9ABEA-9888-41B2-924C-D026491BDA58}" dt="2019-12-16T23:16:06.173" v="249"/>
          <ac:picMkLst>
            <pc:docMk/>
            <pc:sldMk cId="1059281245" sldId="1367"/>
            <ac:picMk id="16" creationId="{AA17AABD-43AA-4941-BC1F-4B6D30867F50}"/>
          </ac:picMkLst>
        </pc:picChg>
        <pc:cxnChg chg="mod">
          <ac:chgData name="Guilherme Maia" userId="fc649a62-ead7-4fa2-a922-e831243cf1e5" providerId="ADAL" clId="{6CC9ABEA-9888-41B2-924C-D026491BDA58}" dt="2019-12-16T23:23:54.099" v="332" actId="1076"/>
          <ac:cxnSpMkLst>
            <pc:docMk/>
            <pc:sldMk cId="1059281245" sldId="1367"/>
            <ac:cxnSpMk id="84" creationId="{00000000-0000-0000-0000-000000000000}"/>
          </ac:cxnSpMkLst>
        </pc:cxnChg>
      </pc:sldChg>
      <pc:sldChg chg="addSp modSp add">
        <pc:chgData name="Guilherme Maia" userId="fc649a62-ead7-4fa2-a922-e831243cf1e5" providerId="ADAL" clId="{6CC9ABEA-9888-41B2-924C-D026491BDA58}" dt="2019-12-16T23:16:07.825" v="250"/>
        <pc:sldMkLst>
          <pc:docMk/>
          <pc:sldMk cId="2722438057" sldId="1368"/>
        </pc:sldMkLst>
        <pc:spChg chg="mod">
          <ac:chgData name="Guilherme Maia" userId="fc649a62-ead7-4fa2-a922-e831243cf1e5" providerId="ADAL" clId="{6CC9ABEA-9888-41B2-924C-D026491BDA58}" dt="2019-12-16T23:15:58.074" v="248" actId="27636"/>
          <ac:spMkLst>
            <pc:docMk/>
            <pc:sldMk cId="2722438057" sldId="1368"/>
            <ac:spMk id="2" creationId="{00000000-0000-0000-0000-000000000000}"/>
          </ac:spMkLst>
        </pc:spChg>
        <pc:picChg chg="add">
          <ac:chgData name="Guilherme Maia" userId="fc649a62-ead7-4fa2-a922-e831243cf1e5" providerId="ADAL" clId="{6CC9ABEA-9888-41B2-924C-D026491BDA58}" dt="2019-12-16T23:16:07.825" v="250"/>
          <ac:picMkLst>
            <pc:docMk/>
            <pc:sldMk cId="2722438057" sldId="1368"/>
            <ac:picMk id="6" creationId="{427D9DC9-C1EC-435F-8DF7-A917FACE6CE3}"/>
          </ac:picMkLst>
        </pc:picChg>
      </pc:sldChg>
      <pc:sldChg chg="addSp add">
        <pc:chgData name="Guilherme Maia" userId="fc649a62-ead7-4fa2-a922-e831243cf1e5" providerId="ADAL" clId="{6CC9ABEA-9888-41B2-924C-D026491BDA58}" dt="2019-12-16T23:16:10.241" v="251"/>
        <pc:sldMkLst>
          <pc:docMk/>
          <pc:sldMk cId="3865887245" sldId="1369"/>
        </pc:sldMkLst>
        <pc:picChg chg="add">
          <ac:chgData name="Guilherme Maia" userId="fc649a62-ead7-4fa2-a922-e831243cf1e5" providerId="ADAL" clId="{6CC9ABEA-9888-41B2-924C-D026491BDA58}" dt="2019-12-16T23:16:10.241" v="251"/>
          <ac:picMkLst>
            <pc:docMk/>
            <pc:sldMk cId="3865887245" sldId="1369"/>
            <ac:picMk id="6" creationId="{1A57452F-8790-455B-B06D-DF939A88B51E}"/>
          </ac:picMkLst>
        </pc:picChg>
      </pc:sldChg>
      <pc:sldChg chg="addSp delSp add">
        <pc:chgData name="Guilherme Maia" userId="fc649a62-ead7-4fa2-a922-e831243cf1e5" providerId="ADAL" clId="{6CC9ABEA-9888-41B2-924C-D026491BDA58}" dt="2019-12-17T00:39:44.537" v="512"/>
        <pc:sldMkLst>
          <pc:docMk/>
          <pc:sldMk cId="3079963253" sldId="1370"/>
        </pc:sldMkLst>
        <pc:picChg chg="add">
          <ac:chgData name="Guilherme Maia" userId="fc649a62-ead7-4fa2-a922-e831243cf1e5" providerId="ADAL" clId="{6CC9ABEA-9888-41B2-924C-D026491BDA58}" dt="2019-12-16T23:16:11.845" v="252"/>
          <ac:picMkLst>
            <pc:docMk/>
            <pc:sldMk cId="3079963253" sldId="1370"/>
            <ac:picMk id="6" creationId="{2C451C22-5357-4205-9B71-01694B848619}"/>
          </ac:picMkLst>
        </pc:picChg>
        <pc:picChg chg="add del">
          <ac:chgData name="Guilherme Maia" userId="fc649a62-ead7-4fa2-a922-e831243cf1e5" providerId="ADAL" clId="{6CC9ABEA-9888-41B2-924C-D026491BDA58}" dt="2019-12-17T00:39:44.537" v="512"/>
          <ac:picMkLst>
            <pc:docMk/>
            <pc:sldMk cId="3079963253" sldId="1370"/>
            <ac:picMk id="7" creationId="{7C405B14-FEC1-4B5E-917C-ACF8F9E36829}"/>
          </ac:picMkLst>
        </pc:picChg>
      </pc:sldChg>
      <pc:sldChg chg="addSp delSp modSp add ord modAnim">
        <pc:chgData name="Guilherme Maia" userId="fc649a62-ead7-4fa2-a922-e831243cf1e5" providerId="ADAL" clId="{6CC9ABEA-9888-41B2-924C-D026491BDA58}" dt="2019-12-17T03:25:09.995" v="985" actId="1076"/>
        <pc:sldMkLst>
          <pc:docMk/>
          <pc:sldMk cId="1748817433" sldId="1371"/>
        </pc:sldMkLst>
        <pc:spChg chg="add del">
          <ac:chgData name="Guilherme Maia" userId="fc649a62-ead7-4fa2-a922-e831243cf1e5" providerId="ADAL" clId="{6CC9ABEA-9888-41B2-924C-D026491BDA58}" dt="2019-12-17T03:21:12.977" v="893"/>
          <ac:spMkLst>
            <pc:docMk/>
            <pc:sldMk cId="1748817433" sldId="1371"/>
            <ac:spMk id="2" creationId="{3689D747-12F9-4F00-9819-32047EDF63BA}"/>
          </ac:spMkLst>
        </pc:spChg>
        <pc:spChg chg="add mod">
          <ac:chgData name="Guilherme Maia" userId="fc649a62-ead7-4fa2-a922-e831243cf1e5" providerId="ADAL" clId="{6CC9ABEA-9888-41B2-924C-D026491BDA58}" dt="2019-12-17T03:25:04.748" v="983" actId="14100"/>
          <ac:spMkLst>
            <pc:docMk/>
            <pc:sldMk cId="1748817433" sldId="1371"/>
            <ac:spMk id="5" creationId="{89749562-344B-48A2-92EB-0EAD56B9AA33}"/>
          </ac:spMkLst>
        </pc:spChg>
        <pc:spChg chg="mod">
          <ac:chgData name="Guilherme Maia" userId="fc649a62-ead7-4fa2-a922-e831243cf1e5" providerId="ADAL" clId="{6CC9ABEA-9888-41B2-924C-D026491BDA58}" dt="2019-12-17T03:23:01.848" v="980" actId="20577"/>
          <ac:spMkLst>
            <pc:docMk/>
            <pc:sldMk cId="1748817433" sldId="1371"/>
            <ac:spMk id="50" creationId="{A83F37D1-7474-47E5-93D6-A5E933056F6F}"/>
          </ac:spMkLst>
        </pc:spChg>
        <pc:picChg chg="add">
          <ac:chgData name="Guilherme Maia" userId="fc649a62-ead7-4fa2-a922-e831243cf1e5" providerId="ADAL" clId="{6CC9ABEA-9888-41B2-924C-D026491BDA58}" dt="2019-12-17T03:22:01.693" v="913"/>
          <ac:picMkLst>
            <pc:docMk/>
            <pc:sldMk cId="1748817433" sldId="1371"/>
            <ac:picMk id="6" creationId="{FFE7E266-4AB6-4AF5-BF66-C25FDD71B2F3}"/>
          </ac:picMkLst>
        </pc:picChg>
        <pc:picChg chg="mod">
          <ac:chgData name="Guilherme Maia" userId="fc649a62-ead7-4fa2-a922-e831243cf1e5" providerId="ADAL" clId="{6CC9ABEA-9888-41B2-924C-D026491BDA58}" dt="2019-12-17T03:25:09.995" v="985" actId="1076"/>
          <ac:picMkLst>
            <pc:docMk/>
            <pc:sldMk cId="1748817433" sldId="1371"/>
            <ac:picMk id="2050" creationId="{FF9C2739-9293-4CE7-9A4E-E7C0686E9AAD}"/>
          </ac:picMkLst>
        </pc:picChg>
      </pc:sldChg>
      <pc:sldChg chg="add">
        <pc:chgData name="Guilherme Maia" userId="fc649a62-ead7-4fa2-a922-e831243cf1e5" providerId="ADAL" clId="{6CC9ABEA-9888-41B2-924C-D026491BDA58}" dt="2019-12-17T00:40:04.208" v="517"/>
        <pc:sldMkLst>
          <pc:docMk/>
          <pc:sldMk cId="4157075218" sldId="1464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455305597" sldId="2201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2435507695" sldId="2202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43772575" sldId="2203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2401577376" sldId="2206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962869845" sldId="2207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3263218479" sldId="2208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3639110345" sldId="2210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2227079170" sldId="2214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2060735314" sldId="2233"/>
        </pc:sldMkLst>
      </pc:sldChg>
      <pc:sldChg chg="del">
        <pc:chgData name="Guilherme Maia" userId="fc649a62-ead7-4fa2-a922-e831243cf1e5" providerId="ADAL" clId="{6CC9ABEA-9888-41B2-924C-D026491BDA58}" dt="2019-12-16T23:17:42.515" v="277" actId="47"/>
        <pc:sldMkLst>
          <pc:docMk/>
          <pc:sldMk cId="4002716965" sldId="10483"/>
        </pc:sldMkLst>
      </pc:sldChg>
      <pc:sldChg chg="del">
        <pc:chgData name="Guilherme Maia" userId="fc649a62-ead7-4fa2-a922-e831243cf1e5" providerId="ADAL" clId="{6CC9ABEA-9888-41B2-924C-D026491BDA58}" dt="2019-12-16T23:16:15.580" v="254" actId="47"/>
        <pc:sldMkLst>
          <pc:docMk/>
          <pc:sldMk cId="946586403" sldId="10484"/>
        </pc:sldMkLst>
      </pc:sldChg>
      <pc:sldChg chg="del">
        <pc:chgData name="Guilherme Maia" userId="fc649a62-ead7-4fa2-a922-e831243cf1e5" providerId="ADAL" clId="{6CC9ABEA-9888-41B2-924C-D026491BDA58}" dt="2019-12-16T23:17:42.515" v="277" actId="47"/>
        <pc:sldMkLst>
          <pc:docMk/>
          <pc:sldMk cId="3811593456" sldId="10485"/>
        </pc:sldMkLst>
      </pc:sldChg>
      <pc:sldChg chg="modSp">
        <pc:chgData name="Guilherme Maia" userId="fc649a62-ead7-4fa2-a922-e831243cf1e5" providerId="ADAL" clId="{6CC9ABEA-9888-41B2-924C-D026491BDA58}" dt="2019-12-16T23:03:20.779" v="245" actId="20577"/>
        <pc:sldMkLst>
          <pc:docMk/>
          <pc:sldMk cId="825661535" sldId="10491"/>
        </pc:sldMkLst>
        <pc:spChg chg="mod">
          <ac:chgData name="Guilherme Maia" userId="fc649a62-ead7-4fa2-a922-e831243cf1e5" providerId="ADAL" clId="{6CC9ABEA-9888-41B2-924C-D026491BDA58}" dt="2019-12-16T23:03:20.779" v="245" actId="20577"/>
          <ac:spMkLst>
            <pc:docMk/>
            <pc:sldMk cId="825661535" sldId="10491"/>
            <ac:spMk id="2" creationId="{00000000-0000-0000-0000-000000000000}"/>
          </ac:spMkLst>
        </pc:spChg>
      </pc:sldChg>
      <pc:sldChg chg="modSp modAnim">
        <pc:chgData name="Guilherme Maia" userId="fc649a62-ead7-4fa2-a922-e831243cf1e5" providerId="ADAL" clId="{6CC9ABEA-9888-41B2-924C-D026491BDA58}" dt="2019-12-16T16:08:43.529" v="136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6CC9ABEA-9888-41B2-924C-D026491BDA58}" dt="2019-12-16T16:08:43.529" v="136" actId="20577"/>
          <ac:spMkLst>
            <pc:docMk/>
            <pc:sldMk cId="2796991040" sldId="10494"/>
            <ac:spMk id="2" creationId="{00000000-0000-0000-0000-000000000000}"/>
          </ac:spMkLst>
        </pc:spChg>
      </pc:sldChg>
      <pc:sldChg chg="addSp delSp modSp ord">
        <pc:chgData name="Guilherme Maia" userId="fc649a62-ead7-4fa2-a922-e831243cf1e5" providerId="ADAL" clId="{6CC9ABEA-9888-41B2-924C-D026491BDA58}" dt="2019-12-17T03:21:58.391" v="912" actId="478"/>
        <pc:sldMkLst>
          <pc:docMk/>
          <pc:sldMk cId="2795239469" sldId="10496"/>
        </pc:sldMkLst>
        <pc:spChg chg="mod">
          <ac:chgData name="Guilherme Maia" userId="fc649a62-ead7-4fa2-a922-e831243cf1e5" providerId="ADAL" clId="{6CC9ABEA-9888-41B2-924C-D026491BDA58}" dt="2019-12-16T23:16:25.001" v="272" actId="20577"/>
          <ac:spMkLst>
            <pc:docMk/>
            <pc:sldMk cId="2795239469" sldId="10496"/>
            <ac:spMk id="2" creationId="{00000000-0000-0000-0000-000000000000}"/>
          </ac:spMkLst>
        </pc:spChg>
        <pc:picChg chg="add del">
          <ac:chgData name="Guilherme Maia" userId="fc649a62-ead7-4fa2-a922-e831243cf1e5" providerId="ADAL" clId="{6CC9ABEA-9888-41B2-924C-D026491BDA58}" dt="2019-12-17T03:21:57.057" v="911" actId="478"/>
          <ac:picMkLst>
            <pc:docMk/>
            <pc:sldMk cId="2795239469" sldId="10496"/>
            <ac:picMk id="3" creationId="{EF7D5657-3BAC-4C19-9D5E-CB2C7B6B27DA}"/>
          </ac:picMkLst>
        </pc:picChg>
        <pc:picChg chg="add del">
          <ac:chgData name="Guilherme Maia" userId="fc649a62-ead7-4fa2-a922-e831243cf1e5" providerId="ADAL" clId="{6CC9ABEA-9888-41B2-924C-D026491BDA58}" dt="2019-12-17T03:21:58.391" v="912" actId="478"/>
          <ac:picMkLst>
            <pc:docMk/>
            <pc:sldMk cId="2795239469" sldId="10496"/>
            <ac:picMk id="5" creationId="{D6EEFA7D-9CCE-4F97-AA5E-D5C7F99382B4}"/>
          </ac:picMkLst>
        </pc:picChg>
      </pc:sldChg>
      <pc:sldChg chg="addSp delSp modSp add del modTransition modAnim">
        <pc:chgData name="Guilherme Maia" userId="fc649a62-ead7-4fa2-a922-e831243cf1e5" providerId="ADAL" clId="{6CC9ABEA-9888-41B2-924C-D026491BDA58}" dt="2019-12-17T03:22:31.813" v="920"/>
        <pc:sldMkLst>
          <pc:docMk/>
          <pc:sldMk cId="779464963" sldId="10497"/>
        </pc:sldMkLst>
        <pc:spChg chg="mod">
          <ac:chgData name="Guilherme Maia" userId="fc649a62-ead7-4fa2-a922-e831243cf1e5" providerId="ADAL" clId="{6CC9ABEA-9888-41B2-924C-D026491BDA58}" dt="2019-12-16T23:18:03.356" v="331" actId="20577"/>
          <ac:spMkLst>
            <pc:docMk/>
            <pc:sldMk cId="779464963" sldId="10497"/>
            <ac:spMk id="2" creationId="{00000000-0000-0000-0000-000000000000}"/>
          </ac:spMkLst>
        </pc:spChg>
        <pc:spChg chg="add del">
          <ac:chgData name="Guilherme Maia" userId="fc649a62-ead7-4fa2-a922-e831243cf1e5" providerId="ADAL" clId="{6CC9ABEA-9888-41B2-924C-D026491BDA58}" dt="2019-12-17T01:06:52.210" v="523"/>
          <ac:spMkLst>
            <pc:docMk/>
            <pc:sldMk cId="779464963" sldId="10497"/>
            <ac:spMk id="5" creationId="{C027564F-922A-4038-9788-42C11BEE41DD}"/>
          </ac:spMkLst>
        </pc:spChg>
      </pc:sldChg>
      <pc:sldChg chg="addSp delSp modSp add ord modTransition">
        <pc:chgData name="Guilherme Maia" userId="fc649a62-ead7-4fa2-a922-e831243cf1e5" providerId="ADAL" clId="{6CC9ABEA-9888-41B2-924C-D026491BDA58}" dt="2019-12-17T14:20:27.191" v="1515" actId="20577"/>
        <pc:sldMkLst>
          <pc:docMk/>
          <pc:sldMk cId="3110175095" sldId="10498"/>
        </pc:sldMkLst>
        <pc:spChg chg="mod">
          <ac:chgData name="Guilherme Maia" userId="fc649a62-ead7-4fa2-a922-e831243cf1e5" providerId="ADAL" clId="{6CC9ABEA-9888-41B2-924C-D026491BDA58}" dt="2019-12-17T14:20:21.184" v="1512" actId="255"/>
          <ac:spMkLst>
            <pc:docMk/>
            <pc:sldMk cId="3110175095" sldId="10498"/>
            <ac:spMk id="2" creationId="{00000000-0000-0000-0000-000000000000}"/>
          </ac:spMkLst>
        </pc:spChg>
        <pc:spChg chg="add mod">
          <ac:chgData name="Guilherme Maia" userId="fc649a62-ead7-4fa2-a922-e831243cf1e5" providerId="ADAL" clId="{6CC9ABEA-9888-41B2-924C-D026491BDA58}" dt="2019-12-17T14:18:20.005" v="1299" actId="1076"/>
          <ac:spMkLst>
            <pc:docMk/>
            <pc:sldMk cId="3110175095" sldId="10498"/>
            <ac:spMk id="5" creationId="{18FD324D-10AA-44F4-9F73-597243A18E65}"/>
          </ac:spMkLst>
        </pc:spChg>
        <pc:spChg chg="del">
          <ac:chgData name="Guilherme Maia" userId="fc649a62-ead7-4fa2-a922-e831243cf1e5" providerId="ADAL" clId="{6CC9ABEA-9888-41B2-924C-D026491BDA58}" dt="2019-12-16T23:24:30.473" v="406" actId="478"/>
          <ac:spMkLst>
            <pc:docMk/>
            <pc:sldMk cId="3110175095" sldId="10498"/>
            <ac:spMk id="5" creationId="{731C4838-8C12-4E75-ACA9-1BA122131B86}"/>
          </ac:spMkLst>
        </pc:spChg>
        <pc:spChg chg="add mod">
          <ac:chgData name="Guilherme Maia" userId="fc649a62-ead7-4fa2-a922-e831243cf1e5" providerId="ADAL" clId="{6CC9ABEA-9888-41B2-924C-D026491BDA58}" dt="2019-12-17T14:20:27.191" v="1515" actId="20577"/>
          <ac:spMkLst>
            <pc:docMk/>
            <pc:sldMk cId="3110175095" sldId="10498"/>
            <ac:spMk id="6" creationId="{260F99E7-1088-4255-9C04-E533DEE5AFB9}"/>
          </ac:spMkLst>
        </pc:spChg>
        <pc:spChg chg="add mod">
          <ac:chgData name="Guilherme Maia" userId="fc649a62-ead7-4fa2-a922-e831243cf1e5" providerId="ADAL" clId="{6CC9ABEA-9888-41B2-924C-D026491BDA58}" dt="2019-12-17T14:20:12.571" v="1511" actId="404"/>
          <ac:spMkLst>
            <pc:docMk/>
            <pc:sldMk cId="3110175095" sldId="10498"/>
            <ac:spMk id="7" creationId="{356E79D4-934B-4380-AF36-80E6D627AFBA}"/>
          </ac:spMkLst>
        </pc:spChg>
        <pc:spChg chg="add mod">
          <ac:chgData name="Guilherme Maia" userId="fc649a62-ead7-4fa2-a922-e831243cf1e5" providerId="ADAL" clId="{6CC9ABEA-9888-41B2-924C-D026491BDA58}" dt="2019-12-17T14:20:09.367" v="1510" actId="1076"/>
          <ac:spMkLst>
            <pc:docMk/>
            <pc:sldMk cId="3110175095" sldId="10498"/>
            <ac:spMk id="8" creationId="{9B656C15-AAC9-463E-9F5D-9B233A800DE5}"/>
          </ac:spMkLst>
        </pc:spChg>
      </pc:sldChg>
      <pc:sldChg chg="addSp delSp modSp add del">
        <pc:chgData name="Guilherme Maia" userId="fc649a62-ead7-4fa2-a922-e831243cf1e5" providerId="ADAL" clId="{6CC9ABEA-9888-41B2-924C-D026491BDA58}" dt="2019-12-17T00:40:05.980" v="518" actId="47"/>
        <pc:sldMkLst>
          <pc:docMk/>
          <pc:sldMk cId="293248361" sldId="10499"/>
        </pc:sldMkLst>
        <pc:spChg chg="del">
          <ac:chgData name="Guilherme Maia" userId="fc649a62-ead7-4fa2-a922-e831243cf1e5" providerId="ADAL" clId="{6CC9ABEA-9888-41B2-924C-D026491BDA58}" dt="2019-12-17T00:40:00.653" v="515" actId="478"/>
          <ac:spMkLst>
            <pc:docMk/>
            <pc:sldMk cId="293248361" sldId="10499"/>
            <ac:spMk id="2" creationId="{00000000-0000-0000-0000-000000000000}"/>
          </ac:spMkLst>
        </pc:spChg>
        <pc:spChg chg="del">
          <ac:chgData name="Guilherme Maia" userId="fc649a62-ead7-4fa2-a922-e831243cf1e5" providerId="ADAL" clId="{6CC9ABEA-9888-41B2-924C-D026491BDA58}" dt="2019-12-17T00:40:02.282" v="516" actId="478"/>
          <ac:spMkLst>
            <pc:docMk/>
            <pc:sldMk cId="293248361" sldId="10499"/>
            <ac:spMk id="5" creationId="{92460012-F101-4CB5-8DBF-C70961ABE40F}"/>
          </ac:spMkLst>
        </pc:spChg>
        <pc:spChg chg="add mod">
          <ac:chgData name="Guilherme Maia" userId="fc649a62-ead7-4fa2-a922-e831243cf1e5" providerId="ADAL" clId="{6CC9ABEA-9888-41B2-924C-D026491BDA58}" dt="2019-12-17T00:40:00.653" v="515" actId="478"/>
          <ac:spMkLst>
            <pc:docMk/>
            <pc:sldMk cId="293248361" sldId="10499"/>
            <ac:spMk id="7" creationId="{C24F0278-0B4A-4A15-814A-3E17DF8DAC5E}"/>
          </ac:spMkLst>
        </pc:spChg>
        <pc:picChg chg="del">
          <ac:chgData name="Guilherme Maia" userId="fc649a62-ead7-4fa2-a922-e831243cf1e5" providerId="ADAL" clId="{6CC9ABEA-9888-41B2-924C-D026491BDA58}" dt="2019-12-17T00:39:58.922" v="514" actId="478"/>
          <ac:picMkLst>
            <pc:docMk/>
            <pc:sldMk cId="293248361" sldId="10499"/>
            <ac:picMk id="4" creationId="{678AD04A-C03D-41F4-9CB2-8DFBBE7CDFAC}"/>
          </ac:picMkLst>
        </pc:picChg>
      </pc:sldChg>
      <pc:sldChg chg="modSp add modAnim">
        <pc:chgData name="Guilherme Maia" userId="fc649a62-ead7-4fa2-a922-e831243cf1e5" providerId="ADAL" clId="{6CC9ABEA-9888-41B2-924C-D026491BDA58}" dt="2019-12-17T14:21:41.936" v="1568" actId="20577"/>
        <pc:sldMkLst>
          <pc:docMk/>
          <pc:sldMk cId="1535403297" sldId="10499"/>
        </pc:sldMkLst>
        <pc:spChg chg="mod">
          <ac:chgData name="Guilherme Maia" userId="fc649a62-ead7-4fa2-a922-e831243cf1e5" providerId="ADAL" clId="{6CC9ABEA-9888-41B2-924C-D026491BDA58}" dt="2019-12-17T14:21:41.936" v="1568" actId="20577"/>
          <ac:spMkLst>
            <pc:docMk/>
            <pc:sldMk cId="1535403297" sldId="10499"/>
            <ac:spMk id="2" creationId="{00000000-0000-0000-0000-000000000000}"/>
          </ac:spMkLst>
        </pc:spChg>
      </pc:sldChg>
      <pc:sldChg chg="add del">
        <pc:chgData name="Guilherme Maia" userId="fc649a62-ead7-4fa2-a922-e831243cf1e5" providerId="ADAL" clId="{6CC9ABEA-9888-41B2-924C-D026491BDA58}" dt="2019-12-17T01:06:57.981" v="526"/>
        <pc:sldMkLst>
          <pc:docMk/>
          <pc:sldMk cId="3856267191" sldId="10500"/>
        </pc:sldMkLst>
      </pc:sldChg>
      <pc:sldChg chg="modSp add modTransition">
        <pc:chgData name="Guilherme Maia" userId="fc649a62-ead7-4fa2-a922-e831243cf1e5" providerId="ADAL" clId="{6CC9ABEA-9888-41B2-924C-D026491BDA58}" dt="2019-12-17T03:19:14.802" v="762"/>
        <pc:sldMkLst>
          <pc:docMk/>
          <pc:sldMk cId="4127669714" sldId="10500"/>
        </pc:sldMkLst>
        <pc:spChg chg="mod">
          <ac:chgData name="Guilherme Maia" userId="fc649a62-ead7-4fa2-a922-e831243cf1e5" providerId="ADAL" clId="{6CC9ABEA-9888-41B2-924C-D026491BDA58}" dt="2019-12-17T02:26:18.724" v="690" actId="20577"/>
          <ac:spMkLst>
            <pc:docMk/>
            <pc:sldMk cId="4127669714" sldId="10500"/>
            <ac:spMk id="2" creationId="{00000000-0000-0000-0000-000000000000}"/>
          </ac:spMkLst>
        </pc:spChg>
      </pc:sldChg>
      <pc:sldChg chg="add del">
        <pc:chgData name="Guilherme Maia" userId="fc649a62-ead7-4fa2-a922-e831243cf1e5" providerId="ADAL" clId="{6CC9ABEA-9888-41B2-924C-D026491BDA58}" dt="2019-12-17T02:24:09.834" v="661"/>
        <pc:sldMkLst>
          <pc:docMk/>
          <pc:sldMk cId="175783673" sldId="10501"/>
        </pc:sldMkLst>
      </pc:sldChg>
      <pc:sldChg chg="modSp add modTransition">
        <pc:chgData name="Guilherme Maia" userId="fc649a62-ead7-4fa2-a922-e831243cf1e5" providerId="ADAL" clId="{6CC9ABEA-9888-41B2-924C-D026491BDA58}" dt="2019-12-17T04:36:02.987" v="1100"/>
        <pc:sldMkLst>
          <pc:docMk/>
          <pc:sldMk cId="2224410752" sldId="10501"/>
        </pc:sldMkLst>
        <pc:spChg chg="mod">
          <ac:chgData name="Guilherme Maia" userId="fc649a62-ead7-4fa2-a922-e831243cf1e5" providerId="ADAL" clId="{6CC9ABEA-9888-41B2-924C-D026491BDA58}" dt="2019-12-17T02:29:31.327" v="760" actId="6549"/>
          <ac:spMkLst>
            <pc:docMk/>
            <pc:sldMk cId="2224410752" sldId="10501"/>
            <ac:spMk id="2" creationId="{00000000-0000-0000-0000-000000000000}"/>
          </ac:spMkLst>
        </pc:spChg>
      </pc:sldChg>
      <pc:sldChg chg="modSp add modTransition">
        <pc:chgData name="Guilherme Maia" userId="fc649a62-ead7-4fa2-a922-e831243cf1e5" providerId="ADAL" clId="{6CC9ABEA-9888-41B2-924C-D026491BDA58}" dt="2019-12-17T03:58:58.076" v="1099"/>
        <pc:sldMkLst>
          <pc:docMk/>
          <pc:sldMk cId="3921672362" sldId="10502"/>
        </pc:sldMkLst>
        <pc:spChg chg="mod">
          <ac:chgData name="Guilherme Maia" userId="fc649a62-ead7-4fa2-a922-e831243cf1e5" providerId="ADAL" clId="{6CC9ABEA-9888-41B2-924C-D026491BDA58}" dt="2019-12-17T03:57:44.961" v="1098" actId="404"/>
          <ac:spMkLst>
            <pc:docMk/>
            <pc:sldMk cId="3921672362" sldId="10502"/>
            <ac:spMk id="2" creationId="{00000000-0000-0000-0000-000000000000}"/>
          </ac:spMkLst>
        </pc:spChg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1715339790" sldId="10628"/>
        </pc:sldMkLst>
      </pc:sldChg>
      <pc:sldChg chg="del">
        <pc:chgData name="Guilherme Maia" userId="fc649a62-ead7-4fa2-a922-e831243cf1e5" providerId="ADAL" clId="{6CC9ABEA-9888-41B2-924C-D026491BDA58}" dt="2019-12-16T23:15:56.184" v="246" actId="47"/>
        <pc:sldMkLst>
          <pc:docMk/>
          <pc:sldMk cId="1154548245" sldId="10629"/>
        </pc:sldMkLst>
      </pc:sldChg>
    </pc:docChg>
  </pc:docChgLst>
  <pc:docChgLst>
    <pc:chgData name="Guilherme Maia" userId="fc649a62-ead7-4fa2-a922-e831243cf1e5" providerId="ADAL" clId="{95D389AE-F498-4D82-A96B-2A60F394D44B}"/>
    <pc:docChg chg="custSel addSld delSld modSld sldOrd">
      <pc:chgData name="Guilherme Maia" userId="fc649a62-ead7-4fa2-a922-e831243cf1e5" providerId="ADAL" clId="{95D389AE-F498-4D82-A96B-2A60F394D44B}" dt="2019-12-04T01:53:40.888" v="331" actId="255"/>
      <pc:docMkLst>
        <pc:docMk/>
      </pc:docMkLst>
      <pc:sldChg chg="del">
        <pc:chgData name="Guilherme Maia" userId="fc649a62-ead7-4fa2-a922-e831243cf1e5" providerId="ADAL" clId="{95D389AE-F498-4D82-A96B-2A60F394D44B}" dt="2019-12-04T00:18:13.800" v="243" actId="47"/>
        <pc:sldMkLst>
          <pc:docMk/>
          <pc:sldMk cId="1391010459" sldId="261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3765704063" sldId="262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4056216665" sldId="263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0" sldId="270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2181715546" sldId="296"/>
        </pc:sldMkLst>
      </pc:sldChg>
      <pc:sldChg chg="delSp modSp modTransition">
        <pc:chgData name="Guilherme Maia" userId="fc649a62-ead7-4fa2-a922-e831243cf1e5" providerId="ADAL" clId="{95D389AE-F498-4D82-A96B-2A60F394D44B}" dt="2019-12-04T00:16:10.721" v="217" actId="1076"/>
        <pc:sldMkLst>
          <pc:docMk/>
          <pc:sldMk cId="3303116671" sldId="316"/>
        </pc:sldMkLst>
        <pc:spChg chg="mod">
          <ac:chgData name="Guilherme Maia" userId="fc649a62-ead7-4fa2-a922-e831243cf1e5" providerId="ADAL" clId="{95D389AE-F498-4D82-A96B-2A60F394D44B}" dt="2019-12-04T00:16:08.033" v="216" actId="1076"/>
          <ac:spMkLst>
            <pc:docMk/>
            <pc:sldMk cId="3303116671" sldId="316"/>
            <ac:spMk id="2" creationId="{00000000-0000-0000-0000-000000000000}"/>
          </ac:spMkLst>
        </pc:spChg>
        <pc:spChg chg="del mod">
          <ac:chgData name="Guilherme Maia" userId="fc649a62-ead7-4fa2-a922-e831243cf1e5" providerId="ADAL" clId="{95D389AE-F498-4D82-A96B-2A60F394D44B}" dt="2019-12-04T00:16:03.985" v="215" actId="478"/>
          <ac:spMkLst>
            <pc:docMk/>
            <pc:sldMk cId="3303116671" sldId="316"/>
            <ac:spMk id="3" creationId="{578BB5F3-C318-4719-B76F-AD28422937EC}"/>
          </ac:spMkLst>
        </pc:spChg>
        <pc:spChg chg="mod">
          <ac:chgData name="Guilherme Maia" userId="fc649a62-ead7-4fa2-a922-e831243cf1e5" providerId="ADAL" clId="{95D389AE-F498-4D82-A96B-2A60F394D44B}" dt="2019-12-04T00:16:10.721" v="217" actId="1076"/>
          <ac:spMkLst>
            <pc:docMk/>
            <pc:sldMk cId="3303116671" sldId="316"/>
            <ac:spMk id="6" creationId="{251FA054-0931-4EB9-9C0B-A7F6894D2F2A}"/>
          </ac:spMkLst>
        </pc:spChg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715999180" sldId="330"/>
        </pc:sldMkLst>
      </pc:sldChg>
      <pc:sldChg chg="modSp modTransition">
        <pc:chgData name="Guilherme Maia" userId="fc649a62-ead7-4fa2-a922-e831243cf1e5" providerId="ADAL" clId="{95D389AE-F498-4D82-A96B-2A60F394D44B}" dt="2019-12-04T00:16:29.166" v="223" actId="20577"/>
        <pc:sldMkLst>
          <pc:docMk/>
          <pc:sldMk cId="176639409" sldId="332"/>
        </pc:sldMkLst>
        <pc:spChg chg="mod">
          <ac:chgData name="Guilherme Maia" userId="fc649a62-ead7-4fa2-a922-e831243cf1e5" providerId="ADAL" clId="{95D389AE-F498-4D82-A96B-2A60F394D44B}" dt="2019-12-04T00:16:29.166" v="223" actId="20577"/>
          <ac:spMkLst>
            <pc:docMk/>
            <pc:sldMk cId="176639409" sldId="332"/>
            <ac:spMk id="2" creationId="{00000000-0000-0000-0000-000000000000}"/>
          </ac:spMkLst>
        </pc:spChg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342754697" sldId="372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290651876" sldId="534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002471703" sldId="535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2684108945" sldId="553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2722438057" sldId="1368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3865887245" sldId="1369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1748817433" sldId="1371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1116025545" sldId="1397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4157075218" sldId="1464"/>
        </pc:sldMkLst>
      </pc:sldChg>
      <pc:sldChg chg="addSp delSp modSp add">
        <pc:chgData name="Guilherme Maia" userId="fc649a62-ead7-4fa2-a922-e831243cf1e5" providerId="ADAL" clId="{95D389AE-F498-4D82-A96B-2A60F394D44B}" dt="2019-12-04T00:17:21.142" v="232" actId="2711"/>
        <pc:sldMkLst>
          <pc:docMk/>
          <pc:sldMk cId="2227736190" sldId="1873"/>
        </pc:sldMkLst>
        <pc:spChg chg="add mod">
          <ac:chgData name="Guilherme Maia" userId="fc649a62-ead7-4fa2-a922-e831243cf1e5" providerId="ADAL" clId="{95D389AE-F498-4D82-A96B-2A60F394D44B}" dt="2019-12-04T00:17:21.142" v="232" actId="2711"/>
          <ac:spMkLst>
            <pc:docMk/>
            <pc:sldMk cId="2227736190" sldId="1873"/>
            <ac:spMk id="3" creationId="{55CEECBD-BA30-4D8D-9731-B506BF57910A}"/>
          </ac:spMkLst>
        </pc:spChg>
        <pc:spChg chg="mod">
          <ac:chgData name="Guilherme Maia" userId="fc649a62-ead7-4fa2-a922-e831243cf1e5" providerId="ADAL" clId="{95D389AE-F498-4D82-A96B-2A60F394D44B}" dt="2019-12-04T00:17:21.142" v="232" actId="2711"/>
          <ac:spMkLst>
            <pc:docMk/>
            <pc:sldMk cId="2227736190" sldId="1873"/>
            <ac:spMk id="6" creationId="{00000000-0000-0000-0000-000000000000}"/>
          </ac:spMkLst>
        </pc:spChg>
        <pc:spChg chg="add mod">
          <ac:chgData name="Guilherme Maia" userId="fc649a62-ead7-4fa2-a922-e831243cf1e5" providerId="ADAL" clId="{95D389AE-F498-4D82-A96B-2A60F394D44B}" dt="2019-12-04T00:17:21.142" v="232" actId="2711"/>
          <ac:spMkLst>
            <pc:docMk/>
            <pc:sldMk cId="2227736190" sldId="1873"/>
            <ac:spMk id="7" creationId="{C805454C-3FA3-4B21-89CE-7FE4AD83FF29}"/>
          </ac:spMkLst>
        </pc:spChg>
        <pc:spChg chg="del mod">
          <ac:chgData name="Guilherme Maia" userId="fc649a62-ead7-4fa2-a922-e831243cf1e5" providerId="ADAL" clId="{95D389AE-F498-4D82-A96B-2A60F394D44B}" dt="2019-12-04T00:16:51.510" v="227" actId="478"/>
          <ac:spMkLst>
            <pc:docMk/>
            <pc:sldMk cId="2227736190" sldId="1873"/>
            <ac:spMk id="17" creationId="{00000000-0000-0000-0000-000000000000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30.604" v="263"/>
        <pc:sldMkLst>
          <pc:docMk/>
          <pc:sldMk cId="1565801163" sldId="1881"/>
        </pc:sldMkLst>
        <pc:spChg chg="add">
          <ac:chgData name="Guilherme Maia" userId="fc649a62-ead7-4fa2-a922-e831243cf1e5" providerId="ADAL" clId="{95D389AE-F498-4D82-A96B-2A60F394D44B}" dt="2019-12-04T00:13:12.937" v="149"/>
          <ac:spMkLst>
            <pc:docMk/>
            <pc:sldMk cId="1565801163" sldId="1881"/>
            <ac:spMk id="5" creationId="{D938794C-8555-45A2-9140-53FD3747E8CE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34.116" v="265"/>
        <pc:sldMkLst>
          <pc:docMk/>
          <pc:sldMk cId="4245557395" sldId="1915"/>
        </pc:sldMkLst>
        <pc:spChg chg="add">
          <ac:chgData name="Guilherme Maia" userId="fc649a62-ead7-4fa2-a922-e831243cf1e5" providerId="ADAL" clId="{95D389AE-F498-4D82-A96B-2A60F394D44B}" dt="2019-12-04T00:13:16.084" v="151"/>
          <ac:spMkLst>
            <pc:docMk/>
            <pc:sldMk cId="4245557395" sldId="1915"/>
            <ac:spMk id="4" creationId="{6C748C44-0F44-4AAB-829F-4F94890F8015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21:53.867" v="269" actId="1076"/>
        <pc:sldMkLst>
          <pc:docMk/>
          <pc:sldMk cId="3887608198" sldId="1933"/>
        </pc:sldMkLst>
        <pc:spChg chg="del mod">
          <ac:chgData name="Guilherme Maia" userId="fc649a62-ead7-4fa2-a922-e831243cf1e5" providerId="ADAL" clId="{95D389AE-F498-4D82-A96B-2A60F394D44B}" dt="2019-12-04T00:18:44.935" v="247" actId="478"/>
          <ac:spMkLst>
            <pc:docMk/>
            <pc:sldMk cId="3887608198" sldId="1933"/>
            <ac:spMk id="3" creationId="{342BFF46-557B-4FA6-8663-2990B973126A}"/>
          </ac:spMkLst>
        </pc:spChg>
        <pc:spChg chg="mod">
          <ac:chgData name="Guilherme Maia" userId="fc649a62-ead7-4fa2-a922-e831243cf1e5" providerId="ADAL" clId="{95D389AE-F498-4D82-A96B-2A60F394D44B}" dt="2019-12-04T00:21:53.867" v="269" actId="1076"/>
          <ac:spMkLst>
            <pc:docMk/>
            <pc:sldMk cId="3887608198" sldId="1933"/>
            <ac:spMk id="4" creationId="{F1D077DF-344C-42C8-973A-73B613211D38}"/>
          </ac:spMkLst>
        </pc:spChg>
        <pc:spChg chg="add mod">
          <ac:chgData name="Guilherme Maia" userId="fc649a62-ead7-4fa2-a922-e831243cf1e5" providerId="ADAL" clId="{95D389AE-F498-4D82-A96B-2A60F394D44B}" dt="2019-12-04T00:21:47.775" v="267" actId="2711"/>
          <ac:spMkLst>
            <pc:docMk/>
            <pc:sldMk cId="3887608198" sldId="1933"/>
            <ac:spMk id="5" creationId="{064F0646-3A04-40AA-94C7-DE2557070BE0}"/>
          </ac:spMkLst>
        </pc:spChg>
        <pc:spChg chg="add mod">
          <ac:chgData name="Guilherme Maia" userId="fc649a62-ead7-4fa2-a922-e831243cf1e5" providerId="ADAL" clId="{95D389AE-F498-4D82-A96B-2A60F394D44B}" dt="2019-12-04T00:21:47.775" v="267" actId="2711"/>
          <ac:spMkLst>
            <pc:docMk/>
            <pc:sldMk cId="3887608198" sldId="1933"/>
            <ac:spMk id="6" creationId="{4D2AA3FD-8FC2-4C78-9B25-E8B9503F60BB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21:58.417" v="270" actId="1076"/>
        <pc:sldMkLst>
          <pc:docMk/>
          <pc:sldMk cId="4262151824" sldId="1934"/>
        </pc:sldMkLst>
        <pc:spChg chg="del mod">
          <ac:chgData name="Guilherme Maia" userId="fc649a62-ead7-4fa2-a922-e831243cf1e5" providerId="ADAL" clId="{95D389AE-F498-4D82-A96B-2A60F394D44B}" dt="2019-12-04T00:18:55.685" v="250" actId="478"/>
          <ac:spMkLst>
            <pc:docMk/>
            <pc:sldMk cId="4262151824" sldId="1934"/>
            <ac:spMk id="2" creationId="{CA7CF471-AA03-43DC-8209-06840CFF848C}"/>
          </ac:spMkLst>
        </pc:spChg>
        <pc:spChg chg="mod">
          <ac:chgData name="Guilherme Maia" userId="fc649a62-ead7-4fa2-a922-e831243cf1e5" providerId="ADAL" clId="{95D389AE-F498-4D82-A96B-2A60F394D44B}" dt="2019-12-04T00:21:58.417" v="270" actId="1076"/>
          <ac:spMkLst>
            <pc:docMk/>
            <pc:sldMk cId="4262151824" sldId="1934"/>
            <ac:spMk id="3" creationId="{779A7499-F4DA-499A-9A40-846D2E8A0307}"/>
          </ac:spMkLst>
        </pc:spChg>
        <pc:spChg chg="add mod">
          <ac:chgData name="Guilherme Maia" userId="fc649a62-ead7-4fa2-a922-e831243cf1e5" providerId="ADAL" clId="{95D389AE-F498-4D82-A96B-2A60F394D44B}" dt="2019-12-04T00:18:59.447" v="251" actId="2711"/>
          <ac:spMkLst>
            <pc:docMk/>
            <pc:sldMk cId="4262151824" sldId="1934"/>
            <ac:spMk id="5" creationId="{AC3AD462-1C4F-4D7D-9ADA-C302A4B95856}"/>
          </ac:spMkLst>
        </pc:spChg>
        <pc:spChg chg="add mod">
          <ac:chgData name="Guilherme Maia" userId="fc649a62-ead7-4fa2-a922-e831243cf1e5" providerId="ADAL" clId="{95D389AE-F498-4D82-A96B-2A60F394D44B}" dt="2019-12-04T00:18:59.447" v="251" actId="2711"/>
          <ac:spMkLst>
            <pc:docMk/>
            <pc:sldMk cId="4262151824" sldId="1934"/>
            <ac:spMk id="7" creationId="{9E886015-C7C7-40E1-B826-1D047F1C234F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21:01.587" v="254" actId="2711"/>
        <pc:sldMkLst>
          <pc:docMk/>
          <pc:sldMk cId="1784033833" sldId="1935"/>
        </pc:sldMkLst>
        <pc:spChg chg="del">
          <ac:chgData name="Guilherme Maia" userId="fc649a62-ead7-4fa2-a922-e831243cf1e5" providerId="ADAL" clId="{95D389AE-F498-4D82-A96B-2A60F394D44B}" dt="2019-12-04T00:20:55.900" v="253" actId="478"/>
          <ac:spMkLst>
            <pc:docMk/>
            <pc:sldMk cId="1784033833" sldId="1935"/>
            <ac:spMk id="2" creationId="{4C9B81F8-B2BF-4178-8CDE-43A8ED405461}"/>
          </ac:spMkLst>
        </pc:spChg>
        <pc:spChg chg="mod">
          <ac:chgData name="Guilherme Maia" userId="fc649a62-ead7-4fa2-a922-e831243cf1e5" providerId="ADAL" clId="{95D389AE-F498-4D82-A96B-2A60F394D44B}" dt="2019-12-04T00:21:01.587" v="254" actId="2711"/>
          <ac:spMkLst>
            <pc:docMk/>
            <pc:sldMk cId="1784033833" sldId="1935"/>
            <ac:spMk id="3" creationId="{1DF4996B-BD0B-447B-B90A-792E19E976D9}"/>
          </ac:spMkLst>
        </pc:spChg>
        <pc:spChg chg="add mod">
          <ac:chgData name="Guilherme Maia" userId="fc649a62-ead7-4fa2-a922-e831243cf1e5" providerId="ADAL" clId="{95D389AE-F498-4D82-A96B-2A60F394D44B}" dt="2019-12-04T00:21:01.587" v="254" actId="2711"/>
          <ac:spMkLst>
            <pc:docMk/>
            <pc:sldMk cId="1784033833" sldId="1935"/>
            <ac:spMk id="5" creationId="{61B30721-C910-448B-947B-EC5B7B3B87D7}"/>
          </ac:spMkLst>
        </pc:spChg>
        <pc:spChg chg="add mod">
          <ac:chgData name="Guilherme Maia" userId="fc649a62-ead7-4fa2-a922-e831243cf1e5" providerId="ADAL" clId="{95D389AE-F498-4D82-A96B-2A60F394D44B}" dt="2019-12-04T00:21:01.587" v="254" actId="2711"/>
          <ac:spMkLst>
            <pc:docMk/>
            <pc:sldMk cId="1784033833" sldId="1935"/>
            <ac:spMk id="7" creationId="{0C5168A1-E615-42C5-82C0-BF728AACE3BE}"/>
          </ac:spMkLst>
        </pc:spChg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781932664" sldId="2309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3595804878" sldId="2310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264106820" sldId="2336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2045493468" sldId="2337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23916039" sldId="2344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3129176361" sldId="2348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973305598" sldId="2350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3232483642" sldId="2352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1646937183" sldId="2370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769872003" sldId="2387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759302618" sldId="2388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907997803" sldId="2389"/>
        </pc:sldMkLst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844532542" sldId="2406"/>
        </pc:sldMkLst>
      </pc:sldChg>
      <pc:sldChg chg="addSp delSp modSp add">
        <pc:chgData name="Guilherme Maia" userId="fc649a62-ead7-4fa2-a922-e831243cf1e5" providerId="ADAL" clId="{95D389AE-F498-4D82-A96B-2A60F394D44B}" dt="2019-12-04T00:09:07.271" v="88" actId="1076"/>
        <pc:sldMkLst>
          <pc:docMk/>
          <pc:sldMk cId="3589957637" sldId="2529"/>
        </pc:sldMkLst>
        <pc:spChg chg="add del mod">
          <ac:chgData name="Guilherme Maia" userId="fc649a62-ead7-4fa2-a922-e831243cf1e5" providerId="ADAL" clId="{95D389AE-F498-4D82-A96B-2A60F394D44B}" dt="2019-12-04T00:08:43.866" v="82" actId="478"/>
          <ac:spMkLst>
            <pc:docMk/>
            <pc:sldMk cId="3589957637" sldId="2529"/>
            <ac:spMk id="3" creationId="{230F5455-FA6C-4771-BE33-26685EDE57B5}"/>
          </ac:spMkLst>
        </pc:spChg>
        <pc:spChg chg="add mod">
          <ac:chgData name="Guilherme Maia" userId="fc649a62-ead7-4fa2-a922-e831243cf1e5" providerId="ADAL" clId="{95D389AE-F498-4D82-A96B-2A60F394D44B}" dt="2019-12-04T00:08:54.303" v="84" actId="207"/>
          <ac:spMkLst>
            <pc:docMk/>
            <pc:sldMk cId="3589957637" sldId="2529"/>
            <ac:spMk id="5" creationId="{6282A351-7697-43EF-93D4-EC18A219117D}"/>
          </ac:spMkLst>
        </pc:spChg>
        <pc:spChg chg="mod">
          <ac:chgData name="Guilherme Maia" userId="fc649a62-ead7-4fa2-a922-e831243cf1e5" providerId="ADAL" clId="{95D389AE-F498-4D82-A96B-2A60F394D44B}" dt="2019-12-04T00:09:07.271" v="88" actId="1076"/>
          <ac:spMkLst>
            <pc:docMk/>
            <pc:sldMk cId="3589957637" sldId="2529"/>
            <ac:spMk id="6" creationId="{00000000-0000-0000-0000-000000000000}"/>
          </ac:spMkLst>
        </pc:spChg>
        <pc:spChg chg="del mod">
          <ac:chgData name="Guilherme Maia" userId="fc649a62-ead7-4fa2-a922-e831243cf1e5" providerId="ADAL" clId="{95D389AE-F498-4D82-A96B-2A60F394D44B}" dt="2019-12-04T00:08:41.292" v="80" actId="478"/>
          <ac:spMkLst>
            <pc:docMk/>
            <pc:sldMk cId="3589957637" sldId="2529"/>
            <ac:spMk id="17" creationId="{00000000-0000-0000-0000-000000000000}"/>
          </ac:spMkLst>
        </pc:spChg>
        <pc:picChg chg="mod">
          <ac:chgData name="Guilherme Maia" userId="fc649a62-ead7-4fa2-a922-e831243cf1e5" providerId="ADAL" clId="{95D389AE-F498-4D82-A96B-2A60F394D44B}" dt="2019-12-04T00:08:54.303" v="84" actId="207"/>
          <ac:picMkLst>
            <pc:docMk/>
            <pc:sldMk cId="3589957637" sldId="2529"/>
            <ac:picMk id="4" creationId="{79901189-437E-4314-B4D6-2D3131E3099F}"/>
          </ac:picMkLst>
        </pc:picChg>
      </pc:sldChg>
      <pc:sldChg chg="addSp delSp modSp add">
        <pc:chgData name="Guilherme Maia" userId="fc649a62-ead7-4fa2-a922-e831243cf1e5" providerId="ADAL" clId="{95D389AE-F498-4D82-A96B-2A60F394D44B}" dt="2019-12-04T00:18:08.700" v="242" actId="2711"/>
        <pc:sldMkLst>
          <pc:docMk/>
          <pc:sldMk cId="2325392413" sldId="2530"/>
        </pc:sldMkLst>
        <pc:spChg chg="add mod">
          <ac:chgData name="Guilherme Maia" userId="fc649a62-ead7-4fa2-a922-e831243cf1e5" providerId="ADAL" clId="{95D389AE-F498-4D82-A96B-2A60F394D44B}" dt="2019-12-04T00:18:08.700" v="242" actId="2711"/>
          <ac:spMkLst>
            <pc:docMk/>
            <pc:sldMk cId="2325392413" sldId="2530"/>
            <ac:spMk id="4" creationId="{D29D42F0-82C3-4800-9E5D-3EB711EA7AAB}"/>
          </ac:spMkLst>
        </pc:spChg>
        <pc:spChg chg="add mod">
          <ac:chgData name="Guilherme Maia" userId="fc649a62-ead7-4fa2-a922-e831243cf1e5" providerId="ADAL" clId="{95D389AE-F498-4D82-A96B-2A60F394D44B}" dt="2019-12-04T00:18:08.700" v="242" actId="2711"/>
          <ac:spMkLst>
            <pc:docMk/>
            <pc:sldMk cId="2325392413" sldId="2530"/>
            <ac:spMk id="5" creationId="{DB7C92DF-655A-4CD6-94CB-BEE49C0F30D3}"/>
          </ac:spMkLst>
        </pc:spChg>
        <pc:spChg chg="mod">
          <ac:chgData name="Guilherme Maia" userId="fc649a62-ead7-4fa2-a922-e831243cf1e5" providerId="ADAL" clId="{95D389AE-F498-4D82-A96B-2A60F394D44B}" dt="2019-12-04T00:18:08.700" v="242" actId="2711"/>
          <ac:spMkLst>
            <pc:docMk/>
            <pc:sldMk cId="2325392413" sldId="2530"/>
            <ac:spMk id="6" creationId="{00000000-0000-0000-0000-000000000000}"/>
          </ac:spMkLst>
        </pc:spChg>
        <pc:spChg chg="del mod">
          <ac:chgData name="Guilherme Maia" userId="fc649a62-ead7-4fa2-a922-e831243cf1e5" providerId="ADAL" clId="{95D389AE-F498-4D82-A96B-2A60F394D44B}" dt="2019-12-04T00:09:24.946" v="92" actId="478"/>
          <ac:spMkLst>
            <pc:docMk/>
            <pc:sldMk cId="2325392413" sldId="2530"/>
            <ac:spMk id="17" creationId="{00000000-0000-0000-0000-000000000000}"/>
          </ac:spMkLst>
        </pc:spChg>
        <pc:picChg chg="mod">
          <ac:chgData name="Guilherme Maia" userId="fc649a62-ead7-4fa2-a922-e831243cf1e5" providerId="ADAL" clId="{95D389AE-F498-4D82-A96B-2A60F394D44B}" dt="2019-12-04T00:09:32.533" v="94" actId="207"/>
          <ac:picMkLst>
            <pc:docMk/>
            <pc:sldMk cId="2325392413" sldId="2530"/>
            <ac:picMk id="2" creationId="{0DB75D26-C48C-4231-B48D-95D3A5467B1A}"/>
          </ac:picMkLst>
        </pc:picChg>
      </pc:sldChg>
      <pc:sldChg chg="addSp delSp modSp add">
        <pc:chgData name="Guilherme Maia" userId="fc649a62-ead7-4fa2-a922-e831243cf1e5" providerId="ADAL" clId="{95D389AE-F498-4D82-A96B-2A60F394D44B}" dt="2019-12-04T00:18:04.596" v="241" actId="2711"/>
        <pc:sldMkLst>
          <pc:docMk/>
          <pc:sldMk cId="3536123919" sldId="2531"/>
        </pc:sldMkLst>
        <pc:spChg chg="add mod">
          <ac:chgData name="Guilherme Maia" userId="fc649a62-ead7-4fa2-a922-e831243cf1e5" providerId="ADAL" clId="{95D389AE-F498-4D82-A96B-2A60F394D44B}" dt="2019-12-04T00:10:00.050" v="98" actId="478"/>
          <ac:spMkLst>
            <pc:docMk/>
            <pc:sldMk cId="3536123919" sldId="2531"/>
            <ac:spMk id="3" creationId="{DC002EC5-1601-4CDE-A006-70D489DA8A33}"/>
          </ac:spMkLst>
        </pc:spChg>
        <pc:spChg chg="add mod">
          <ac:chgData name="Guilherme Maia" userId="fc649a62-ead7-4fa2-a922-e831243cf1e5" providerId="ADAL" clId="{95D389AE-F498-4D82-A96B-2A60F394D44B}" dt="2019-12-04T00:09:53.125" v="96"/>
          <ac:spMkLst>
            <pc:docMk/>
            <pc:sldMk cId="3536123919" sldId="2531"/>
            <ac:spMk id="4" creationId="{DF4A8B19-0EB6-4C5B-9DD3-A569DEDE440A}"/>
          </ac:spMkLst>
        </pc:spChg>
        <pc:spChg chg="mod">
          <ac:chgData name="Guilherme Maia" userId="fc649a62-ead7-4fa2-a922-e831243cf1e5" providerId="ADAL" clId="{95D389AE-F498-4D82-A96B-2A60F394D44B}" dt="2019-12-04T00:18:04.596" v="241" actId="2711"/>
          <ac:spMkLst>
            <pc:docMk/>
            <pc:sldMk cId="3536123919" sldId="2531"/>
            <ac:spMk id="9" creationId="{DF067D0F-55EE-42A8-A4B3-407F6619EB22}"/>
          </ac:spMkLst>
        </pc:spChg>
        <pc:spChg chg="del mod">
          <ac:chgData name="Guilherme Maia" userId="fc649a62-ead7-4fa2-a922-e831243cf1e5" providerId="ADAL" clId="{95D389AE-F498-4D82-A96B-2A60F394D44B}" dt="2019-12-04T00:10:00.050" v="98" actId="478"/>
          <ac:spMkLst>
            <pc:docMk/>
            <pc:sldMk cId="3536123919" sldId="2531"/>
            <ac:spMk id="17" creationId="{00000000-0000-0000-0000-000000000000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53.477" v="239" actId="27636"/>
        <pc:sldMkLst>
          <pc:docMk/>
          <pc:sldMk cId="424470091" sldId="2533"/>
        </pc:sldMkLst>
        <pc:spChg chg="add mod">
          <ac:chgData name="Guilherme Maia" userId="fc649a62-ead7-4fa2-a922-e831243cf1e5" providerId="ADAL" clId="{95D389AE-F498-4D82-A96B-2A60F394D44B}" dt="2019-12-04T00:10:20.142" v="102" actId="478"/>
          <ac:spMkLst>
            <pc:docMk/>
            <pc:sldMk cId="424470091" sldId="2533"/>
            <ac:spMk id="3" creationId="{6EB1138D-AA2F-45B0-BA7B-75DB64EE00BD}"/>
          </ac:spMkLst>
        </pc:spChg>
        <pc:spChg chg="mod">
          <ac:chgData name="Guilherme Maia" userId="fc649a62-ead7-4fa2-a922-e831243cf1e5" providerId="ADAL" clId="{95D389AE-F498-4D82-A96B-2A60F394D44B}" dt="2019-12-04T00:17:53.477" v="239" actId="27636"/>
          <ac:spMkLst>
            <pc:docMk/>
            <pc:sldMk cId="424470091" sldId="2533"/>
            <ac:spMk id="6" creationId="{00000000-0000-0000-0000-000000000000}"/>
          </ac:spMkLst>
        </pc:spChg>
        <pc:spChg chg="add mod">
          <ac:chgData name="Guilherme Maia" userId="fc649a62-ead7-4fa2-a922-e831243cf1e5" providerId="ADAL" clId="{95D389AE-F498-4D82-A96B-2A60F394D44B}" dt="2019-12-04T00:10:15.702" v="100"/>
          <ac:spMkLst>
            <pc:docMk/>
            <pc:sldMk cId="424470091" sldId="2533"/>
            <ac:spMk id="7" creationId="{410C2E04-44A6-422C-8534-984D95C6679E}"/>
          </ac:spMkLst>
        </pc:spChg>
        <pc:spChg chg="del mod">
          <ac:chgData name="Guilherme Maia" userId="fc649a62-ead7-4fa2-a922-e831243cf1e5" providerId="ADAL" clId="{95D389AE-F498-4D82-A96B-2A60F394D44B}" dt="2019-12-04T00:10:20.142" v="102" actId="478"/>
          <ac:spMkLst>
            <pc:docMk/>
            <pc:sldMk cId="424470091" sldId="2533"/>
            <ac:spMk id="17" creationId="{00000000-0000-0000-0000-000000000000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45.629" v="236" actId="2711"/>
        <pc:sldMkLst>
          <pc:docMk/>
          <pc:sldMk cId="2877408914" sldId="2534"/>
        </pc:sldMkLst>
        <pc:spChg chg="del mod">
          <ac:chgData name="Guilherme Maia" userId="fc649a62-ead7-4fa2-a922-e831243cf1e5" providerId="ADAL" clId="{95D389AE-F498-4D82-A96B-2A60F394D44B}" dt="2019-12-04T00:10:36.916" v="107" actId="478"/>
          <ac:spMkLst>
            <pc:docMk/>
            <pc:sldMk cId="2877408914" sldId="2534"/>
            <ac:spMk id="2" creationId="{F7480CBC-FC29-45F6-84AA-393EFA2428B6}"/>
          </ac:spMkLst>
        </pc:spChg>
        <pc:spChg chg="mod">
          <ac:chgData name="Guilherme Maia" userId="fc649a62-ead7-4fa2-a922-e831243cf1e5" providerId="ADAL" clId="{95D389AE-F498-4D82-A96B-2A60F394D44B}" dt="2019-12-04T00:17:45.629" v="236" actId="2711"/>
          <ac:spMkLst>
            <pc:docMk/>
            <pc:sldMk cId="2877408914" sldId="2534"/>
            <ac:spMk id="3" creationId="{634C9953-EEB7-4D8D-A80D-0B594E82032B}"/>
          </ac:spMkLst>
        </pc:spChg>
        <pc:spChg chg="add mod">
          <ac:chgData name="Guilherme Maia" userId="fc649a62-ead7-4fa2-a922-e831243cf1e5" providerId="ADAL" clId="{95D389AE-F498-4D82-A96B-2A60F394D44B}" dt="2019-12-04T00:17:45.629" v="236" actId="2711"/>
          <ac:spMkLst>
            <pc:docMk/>
            <pc:sldMk cId="2877408914" sldId="2534"/>
            <ac:spMk id="5" creationId="{949204D0-B73E-4BE9-99D6-BCD82AFDB9FC}"/>
          </ac:spMkLst>
        </pc:spChg>
        <pc:spChg chg="add mod">
          <ac:chgData name="Guilherme Maia" userId="fc649a62-ead7-4fa2-a922-e831243cf1e5" providerId="ADAL" clId="{95D389AE-F498-4D82-A96B-2A60F394D44B}" dt="2019-12-04T00:17:45.629" v="236" actId="2711"/>
          <ac:spMkLst>
            <pc:docMk/>
            <pc:sldMk cId="2877408914" sldId="2534"/>
            <ac:spMk id="6" creationId="{E99D511F-4541-4BC7-8463-4B369AB885F6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40.628" v="235" actId="2711"/>
        <pc:sldMkLst>
          <pc:docMk/>
          <pc:sldMk cId="907671095" sldId="2537"/>
        </pc:sldMkLst>
        <pc:spChg chg="del mod">
          <ac:chgData name="Guilherme Maia" userId="fc649a62-ead7-4fa2-a922-e831243cf1e5" providerId="ADAL" clId="{95D389AE-F498-4D82-A96B-2A60F394D44B}" dt="2019-12-04T00:11:00.607" v="113" actId="478"/>
          <ac:spMkLst>
            <pc:docMk/>
            <pc:sldMk cId="907671095" sldId="2537"/>
            <ac:spMk id="2" creationId="{C44A3137-CCDE-4D5D-AAB3-7D5EC85AF276}"/>
          </ac:spMkLst>
        </pc:spChg>
        <pc:spChg chg="mod">
          <ac:chgData name="Guilherme Maia" userId="fc649a62-ead7-4fa2-a922-e831243cf1e5" providerId="ADAL" clId="{95D389AE-F498-4D82-A96B-2A60F394D44B}" dt="2019-12-04T00:17:40.628" v="235" actId="2711"/>
          <ac:spMkLst>
            <pc:docMk/>
            <pc:sldMk cId="907671095" sldId="2537"/>
            <ac:spMk id="3" creationId="{BF5AA6E9-4437-47A5-BE00-32DCCF96C249}"/>
          </ac:spMkLst>
        </pc:spChg>
        <pc:spChg chg="add mod">
          <ac:chgData name="Guilherme Maia" userId="fc649a62-ead7-4fa2-a922-e831243cf1e5" providerId="ADAL" clId="{95D389AE-F498-4D82-A96B-2A60F394D44B}" dt="2019-12-04T00:17:40.628" v="235" actId="2711"/>
          <ac:spMkLst>
            <pc:docMk/>
            <pc:sldMk cId="907671095" sldId="2537"/>
            <ac:spMk id="5" creationId="{3F0AA38D-1CDA-444E-A7FB-A7D0D9468CCA}"/>
          </ac:spMkLst>
        </pc:spChg>
        <pc:spChg chg="add mod">
          <ac:chgData name="Guilherme Maia" userId="fc649a62-ead7-4fa2-a922-e831243cf1e5" providerId="ADAL" clId="{95D389AE-F498-4D82-A96B-2A60F394D44B}" dt="2019-12-04T00:17:40.628" v="235" actId="2711"/>
          <ac:spMkLst>
            <pc:docMk/>
            <pc:sldMk cId="907671095" sldId="2537"/>
            <ac:spMk id="7" creationId="{F3D6499A-3108-4F13-8F64-7C177F4B18CB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36.199" v="234" actId="2711"/>
        <pc:sldMkLst>
          <pc:docMk/>
          <pc:sldMk cId="1601130185" sldId="2538"/>
        </pc:sldMkLst>
        <pc:spChg chg="del mod">
          <ac:chgData name="Guilherme Maia" userId="fc649a62-ead7-4fa2-a922-e831243cf1e5" providerId="ADAL" clId="{95D389AE-F498-4D82-A96B-2A60F394D44B}" dt="2019-12-04T00:11:22.236" v="117" actId="478"/>
          <ac:spMkLst>
            <pc:docMk/>
            <pc:sldMk cId="1601130185" sldId="2538"/>
            <ac:spMk id="2" creationId="{64881FD7-02B2-431A-AF26-9D42C7E12517}"/>
          </ac:spMkLst>
        </pc:spChg>
        <pc:spChg chg="mod">
          <ac:chgData name="Guilherme Maia" userId="fc649a62-ead7-4fa2-a922-e831243cf1e5" providerId="ADAL" clId="{95D389AE-F498-4D82-A96B-2A60F394D44B}" dt="2019-12-04T00:17:36.199" v="234" actId="2711"/>
          <ac:spMkLst>
            <pc:docMk/>
            <pc:sldMk cId="1601130185" sldId="2538"/>
            <ac:spMk id="3" creationId="{0FA40FCA-A3BE-4670-97E5-04D0220D2752}"/>
          </ac:spMkLst>
        </pc:spChg>
        <pc:spChg chg="add mod">
          <ac:chgData name="Guilherme Maia" userId="fc649a62-ead7-4fa2-a922-e831243cf1e5" providerId="ADAL" clId="{95D389AE-F498-4D82-A96B-2A60F394D44B}" dt="2019-12-04T00:17:36.199" v="234" actId="2711"/>
          <ac:spMkLst>
            <pc:docMk/>
            <pc:sldMk cId="1601130185" sldId="2538"/>
            <ac:spMk id="5" creationId="{0A5F7701-AEBD-4688-9ED7-C19147537CF9}"/>
          </ac:spMkLst>
        </pc:spChg>
        <pc:spChg chg="add mod">
          <ac:chgData name="Guilherme Maia" userId="fc649a62-ead7-4fa2-a922-e831243cf1e5" providerId="ADAL" clId="{95D389AE-F498-4D82-A96B-2A60F394D44B}" dt="2019-12-04T00:17:36.199" v="234" actId="2711"/>
          <ac:spMkLst>
            <pc:docMk/>
            <pc:sldMk cId="1601130185" sldId="2538"/>
            <ac:spMk id="7" creationId="{C83786D7-FB79-423A-8599-3BB5405E9FC6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2:02.430" v="129" actId="2711"/>
        <pc:sldMkLst>
          <pc:docMk/>
          <pc:sldMk cId="1500838324" sldId="2539"/>
        </pc:sldMkLst>
        <pc:spChg chg="del mod">
          <ac:chgData name="Guilherme Maia" userId="fc649a62-ead7-4fa2-a922-e831243cf1e5" providerId="ADAL" clId="{95D389AE-F498-4D82-A96B-2A60F394D44B}" dt="2019-12-04T00:11:58.575" v="128" actId="478"/>
          <ac:spMkLst>
            <pc:docMk/>
            <pc:sldMk cId="1500838324" sldId="2539"/>
            <ac:spMk id="2" creationId="{AB128E99-A4F1-4D01-8E29-E43960D221E9}"/>
          </ac:spMkLst>
        </pc:spChg>
        <pc:spChg chg="mod">
          <ac:chgData name="Guilherme Maia" userId="fc649a62-ead7-4fa2-a922-e831243cf1e5" providerId="ADAL" clId="{95D389AE-F498-4D82-A96B-2A60F394D44B}" dt="2019-12-04T00:12:02.430" v="129" actId="2711"/>
          <ac:spMkLst>
            <pc:docMk/>
            <pc:sldMk cId="1500838324" sldId="2539"/>
            <ac:spMk id="3" creationId="{3A98C78C-9BBA-45BB-84A3-4F39C1FEFFAC}"/>
          </ac:spMkLst>
        </pc:spChg>
        <pc:spChg chg="add mod">
          <ac:chgData name="Guilherme Maia" userId="fc649a62-ead7-4fa2-a922-e831243cf1e5" providerId="ADAL" clId="{95D389AE-F498-4D82-A96B-2A60F394D44B}" dt="2019-12-04T00:12:02.430" v="129" actId="2711"/>
          <ac:spMkLst>
            <pc:docMk/>
            <pc:sldMk cId="1500838324" sldId="2539"/>
            <ac:spMk id="5" creationId="{4BB22826-F98D-42AC-A73C-0B61ABFC690F}"/>
          </ac:spMkLst>
        </pc:spChg>
        <pc:spChg chg="add mod">
          <ac:chgData name="Guilherme Maia" userId="fc649a62-ead7-4fa2-a922-e831243cf1e5" providerId="ADAL" clId="{95D389AE-F498-4D82-A96B-2A60F394D44B}" dt="2019-12-04T00:12:02.430" v="129" actId="2711"/>
          <ac:spMkLst>
            <pc:docMk/>
            <pc:sldMk cId="1500838324" sldId="2539"/>
            <ac:spMk id="7" creationId="{94057488-D105-437F-9B74-CD665332C18F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31.206" v="233" actId="2711"/>
        <pc:sldMkLst>
          <pc:docMk/>
          <pc:sldMk cId="1680954869" sldId="2540"/>
        </pc:sldMkLst>
        <pc:spChg chg="add del">
          <ac:chgData name="Guilherme Maia" userId="fc649a62-ead7-4fa2-a922-e831243cf1e5" providerId="ADAL" clId="{95D389AE-F498-4D82-A96B-2A60F394D44B}" dt="2019-12-04T00:11:26.680" v="119"/>
          <ac:spMkLst>
            <pc:docMk/>
            <pc:sldMk cId="1680954869" sldId="2540"/>
            <ac:spMk id="2" creationId="{77E06D1B-C11C-4499-9496-C146455A2AC0}"/>
          </ac:spMkLst>
        </pc:spChg>
        <pc:spChg chg="add mod">
          <ac:chgData name="Guilherme Maia" userId="fc649a62-ead7-4fa2-a922-e831243cf1e5" providerId="ADAL" clId="{95D389AE-F498-4D82-A96B-2A60F394D44B}" dt="2019-12-04T00:17:31.206" v="233" actId="2711"/>
          <ac:spMkLst>
            <pc:docMk/>
            <pc:sldMk cId="1680954869" sldId="2540"/>
            <ac:spMk id="5" creationId="{DCE95F24-94E7-4E33-AF28-296ED167CAB7}"/>
          </ac:spMkLst>
        </pc:spChg>
        <pc:spChg chg="mod">
          <ac:chgData name="Guilherme Maia" userId="fc649a62-ead7-4fa2-a922-e831243cf1e5" providerId="ADAL" clId="{95D389AE-F498-4D82-A96B-2A60F394D44B}" dt="2019-12-04T00:17:31.206" v="233" actId="2711"/>
          <ac:spMkLst>
            <pc:docMk/>
            <pc:sldMk cId="1680954869" sldId="2540"/>
            <ac:spMk id="6" creationId="{00000000-0000-0000-0000-000000000000}"/>
          </ac:spMkLst>
        </pc:spChg>
        <pc:spChg chg="add mod">
          <ac:chgData name="Guilherme Maia" userId="fc649a62-ead7-4fa2-a922-e831243cf1e5" providerId="ADAL" clId="{95D389AE-F498-4D82-A96B-2A60F394D44B}" dt="2019-12-04T00:17:31.206" v="233" actId="2711"/>
          <ac:spMkLst>
            <pc:docMk/>
            <pc:sldMk cId="1680954869" sldId="2540"/>
            <ac:spMk id="7" creationId="{68AAD08C-EC1E-4BD9-BDC2-95BD84AA9F44}"/>
          </ac:spMkLst>
        </pc:spChg>
        <pc:spChg chg="del mod">
          <ac:chgData name="Guilherme Maia" userId="fc649a62-ead7-4fa2-a922-e831243cf1e5" providerId="ADAL" clId="{95D389AE-F498-4D82-A96B-2A60F394D44B}" dt="2019-12-04T00:11:44.693" v="124" actId="478"/>
          <ac:spMkLst>
            <pc:docMk/>
            <pc:sldMk cId="1680954869" sldId="2540"/>
            <ac:spMk id="17" creationId="{00000000-0000-0000-0000-000000000000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2:23.668" v="134" actId="478"/>
        <pc:sldMkLst>
          <pc:docMk/>
          <pc:sldMk cId="1540127173" sldId="2541"/>
        </pc:sldMkLst>
        <pc:spChg chg="del mod">
          <ac:chgData name="Guilherme Maia" userId="fc649a62-ead7-4fa2-a922-e831243cf1e5" providerId="ADAL" clId="{95D389AE-F498-4D82-A96B-2A60F394D44B}" dt="2019-12-04T00:12:23.668" v="134" actId="478"/>
          <ac:spMkLst>
            <pc:docMk/>
            <pc:sldMk cId="1540127173" sldId="2541"/>
            <ac:spMk id="2" creationId="{0DC8BDA9-DD9D-4A17-968B-A003291FB0A2}"/>
          </ac:spMkLst>
        </pc:spChg>
        <pc:spChg chg="mod">
          <ac:chgData name="Guilherme Maia" userId="fc649a62-ead7-4fa2-a922-e831243cf1e5" providerId="ADAL" clId="{95D389AE-F498-4D82-A96B-2A60F394D44B}" dt="2019-12-04T00:12:08.883" v="130" actId="2711"/>
          <ac:spMkLst>
            <pc:docMk/>
            <pc:sldMk cId="1540127173" sldId="2541"/>
            <ac:spMk id="3" creationId="{3234E1FB-5716-4AC8-8C3C-E76136B154F3}"/>
          </ac:spMkLst>
        </pc:spChg>
        <pc:spChg chg="add mod">
          <ac:chgData name="Guilherme Maia" userId="fc649a62-ead7-4fa2-a922-e831243cf1e5" providerId="ADAL" clId="{95D389AE-F498-4D82-A96B-2A60F394D44B}" dt="2019-12-04T00:12:18.821" v="132"/>
          <ac:spMkLst>
            <pc:docMk/>
            <pc:sldMk cId="1540127173" sldId="2541"/>
            <ac:spMk id="5" creationId="{DB57D215-36FA-4F4D-82CA-B88526D52B2A}"/>
          </ac:spMkLst>
        </pc:spChg>
        <pc:spChg chg="add mod">
          <ac:chgData name="Guilherme Maia" userId="fc649a62-ead7-4fa2-a922-e831243cf1e5" providerId="ADAL" clId="{95D389AE-F498-4D82-A96B-2A60F394D44B}" dt="2019-12-04T00:12:23.668" v="134" actId="478"/>
          <ac:spMkLst>
            <pc:docMk/>
            <pc:sldMk cId="1540127173" sldId="2541"/>
            <ac:spMk id="7" creationId="{A1FE1E28-68A6-4BA6-BDFC-F99838C4FD11}"/>
          </ac:spMkLst>
        </pc:spChg>
      </pc:sldChg>
      <pc:sldChg chg="addSp delSp modSp add">
        <pc:chgData name="Guilherme Maia" userId="fc649a62-ead7-4fa2-a922-e831243cf1e5" providerId="ADAL" clId="{95D389AE-F498-4D82-A96B-2A60F394D44B}" dt="2019-12-04T00:17:16.076" v="231" actId="2711"/>
        <pc:sldMkLst>
          <pc:docMk/>
          <pc:sldMk cId="3687525429" sldId="2542"/>
        </pc:sldMkLst>
        <pc:spChg chg="del mod">
          <ac:chgData name="Guilherme Maia" userId="fc649a62-ead7-4fa2-a922-e831243cf1e5" providerId="ADAL" clId="{95D389AE-F498-4D82-A96B-2A60F394D44B}" dt="2019-12-04T00:17:11.507" v="230" actId="478"/>
          <ac:spMkLst>
            <pc:docMk/>
            <pc:sldMk cId="3687525429" sldId="2542"/>
            <ac:spMk id="2" creationId="{EF3E562A-8DDE-4C34-9A56-B87EA948E5BB}"/>
          </ac:spMkLst>
        </pc:spChg>
        <pc:spChg chg="mod">
          <ac:chgData name="Guilherme Maia" userId="fc649a62-ead7-4fa2-a922-e831243cf1e5" providerId="ADAL" clId="{95D389AE-F498-4D82-A96B-2A60F394D44B}" dt="2019-12-04T00:17:16.076" v="231" actId="2711"/>
          <ac:spMkLst>
            <pc:docMk/>
            <pc:sldMk cId="3687525429" sldId="2542"/>
            <ac:spMk id="3" creationId="{B87E5052-0737-4CB0-873E-131E8F32231F}"/>
          </ac:spMkLst>
        </pc:spChg>
        <pc:spChg chg="add mod">
          <ac:chgData name="Guilherme Maia" userId="fc649a62-ead7-4fa2-a922-e831243cf1e5" providerId="ADAL" clId="{95D389AE-F498-4D82-A96B-2A60F394D44B}" dt="2019-12-04T00:17:16.076" v="231" actId="2711"/>
          <ac:spMkLst>
            <pc:docMk/>
            <pc:sldMk cId="3687525429" sldId="2542"/>
            <ac:spMk id="5" creationId="{ABC23484-8080-4C84-A438-A0CE9C4F0181}"/>
          </ac:spMkLst>
        </pc:spChg>
        <pc:spChg chg="add mod">
          <ac:chgData name="Guilherme Maia" userId="fc649a62-ead7-4fa2-a922-e831243cf1e5" providerId="ADAL" clId="{95D389AE-F498-4D82-A96B-2A60F394D44B}" dt="2019-12-04T00:17:16.076" v="231" actId="2711"/>
          <ac:spMkLst>
            <pc:docMk/>
            <pc:sldMk cId="3687525429" sldId="2542"/>
            <ac:spMk id="7" creationId="{E63169DC-48F4-47CF-8C14-A4FADC4C160E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21.696" v="259"/>
        <pc:sldMkLst>
          <pc:docMk/>
          <pc:sldMk cId="2420866615" sldId="2548"/>
        </pc:sldMkLst>
        <pc:spChg chg="add">
          <ac:chgData name="Guilherme Maia" userId="fc649a62-ead7-4fa2-a922-e831243cf1e5" providerId="ADAL" clId="{95D389AE-F498-4D82-A96B-2A60F394D44B}" dt="2019-12-04T00:13:02.787" v="144"/>
          <ac:spMkLst>
            <pc:docMk/>
            <pc:sldMk cId="2420866615" sldId="2548"/>
            <ac:spMk id="5" creationId="{0AA288A2-3053-4233-B85E-AE14DA30555B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13:04.086" v="145"/>
        <pc:sldMkLst>
          <pc:docMk/>
          <pc:sldMk cId="551864555" sldId="2555"/>
        </pc:sldMkLst>
        <pc:spChg chg="add">
          <ac:chgData name="Guilherme Maia" userId="fc649a62-ead7-4fa2-a922-e831243cf1e5" providerId="ADAL" clId="{95D389AE-F498-4D82-A96B-2A60F394D44B}" dt="2019-12-04T00:13:04.086" v="145"/>
          <ac:spMkLst>
            <pc:docMk/>
            <pc:sldMk cId="551864555" sldId="2555"/>
            <ac:spMk id="5" creationId="{C015635F-AD9A-46E7-B992-67796A5B2607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24.080" v="260"/>
        <pc:sldMkLst>
          <pc:docMk/>
          <pc:sldMk cId="1467069214" sldId="2557"/>
        </pc:sldMkLst>
        <pc:spChg chg="add">
          <ac:chgData name="Guilherme Maia" userId="fc649a62-ead7-4fa2-a922-e831243cf1e5" providerId="ADAL" clId="{95D389AE-F498-4D82-A96B-2A60F394D44B}" dt="2019-12-04T00:13:05.656" v="146"/>
          <ac:spMkLst>
            <pc:docMk/>
            <pc:sldMk cId="1467069214" sldId="2557"/>
            <ac:spMk id="6" creationId="{597F1BD5-37C7-4047-B59B-FB1A286384E5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28.937" v="262"/>
        <pc:sldMkLst>
          <pc:docMk/>
          <pc:sldMk cId="152517436" sldId="2558"/>
        </pc:sldMkLst>
        <pc:spChg chg="add">
          <ac:chgData name="Guilherme Maia" userId="fc649a62-ead7-4fa2-a922-e831243cf1e5" providerId="ADAL" clId="{95D389AE-F498-4D82-A96B-2A60F394D44B}" dt="2019-12-04T00:13:11.213" v="148"/>
          <ac:spMkLst>
            <pc:docMk/>
            <pc:sldMk cId="152517436" sldId="2558"/>
            <ac:spMk id="5" creationId="{6A190AF0-FB8C-438D-8ADC-63C1260034E0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27.327" v="261"/>
        <pc:sldMkLst>
          <pc:docMk/>
          <pc:sldMk cId="705694620" sldId="2559"/>
        </pc:sldMkLst>
        <pc:spChg chg="add">
          <ac:chgData name="Guilherme Maia" userId="fc649a62-ead7-4fa2-a922-e831243cf1e5" providerId="ADAL" clId="{95D389AE-F498-4D82-A96B-2A60F394D44B}" dt="2019-12-04T00:13:09.125" v="147"/>
          <ac:spMkLst>
            <pc:docMk/>
            <pc:sldMk cId="705694620" sldId="2559"/>
            <ac:spMk id="7" creationId="{44DB8F40-0A49-4F49-8C53-A39F854B7B0D}"/>
          </ac:spMkLst>
        </pc:spChg>
      </pc:sldChg>
      <pc:sldChg chg="addSp add modTransition">
        <pc:chgData name="Guilherme Maia" userId="fc649a62-ead7-4fa2-a922-e831243cf1e5" providerId="ADAL" clId="{95D389AE-F498-4D82-A96B-2A60F394D44B}" dt="2019-12-04T00:21:32.655" v="264"/>
        <pc:sldMkLst>
          <pc:docMk/>
          <pc:sldMk cId="1317896239" sldId="2560"/>
        </pc:sldMkLst>
        <pc:spChg chg="add">
          <ac:chgData name="Guilherme Maia" userId="fc649a62-ead7-4fa2-a922-e831243cf1e5" providerId="ADAL" clId="{95D389AE-F498-4D82-A96B-2A60F394D44B}" dt="2019-12-04T00:13:14.674" v="150"/>
          <ac:spMkLst>
            <pc:docMk/>
            <pc:sldMk cId="1317896239" sldId="2560"/>
            <ac:spMk id="5" creationId="{8F62A1A2-8021-4D5B-9FD5-6B37A80A52F5}"/>
          </ac:spMkLst>
        </pc:spChg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3739505304" sldId="9921"/>
        </pc:sldMkLst>
      </pc:sldChg>
      <pc:sldChg chg="modSp modTransition">
        <pc:chgData name="Guilherme Maia" userId="fc649a62-ead7-4fa2-a922-e831243cf1e5" providerId="ADAL" clId="{95D389AE-F498-4D82-A96B-2A60F394D44B}" dt="2019-12-04T00:15:01.450" v="163"/>
        <pc:sldMkLst>
          <pc:docMk/>
          <pc:sldMk cId="4002716965" sldId="10483"/>
        </pc:sldMkLst>
        <pc:spChg chg="mod">
          <ac:chgData name="Guilherme Maia" userId="fc649a62-ead7-4fa2-a922-e831243cf1e5" providerId="ADAL" clId="{95D389AE-F498-4D82-A96B-2A60F394D44B}" dt="2019-12-04T00:14:54.785" v="162" actId="20577"/>
          <ac:spMkLst>
            <pc:docMk/>
            <pc:sldMk cId="4002716965" sldId="10483"/>
            <ac:spMk id="3" creationId="{00000000-0000-0000-0000-000000000000}"/>
          </ac:spMkLst>
        </pc:spChg>
      </pc:sldChg>
      <pc:sldChg chg="modTransition">
        <pc:chgData name="Guilherme Maia" userId="fc649a62-ead7-4fa2-a922-e831243cf1e5" providerId="ADAL" clId="{95D389AE-F498-4D82-A96B-2A60F394D44B}" dt="2019-12-04T00:13:53.456" v="159"/>
        <pc:sldMkLst>
          <pc:docMk/>
          <pc:sldMk cId="946586403" sldId="10484"/>
        </pc:sldMkLst>
      </pc:sldChg>
      <pc:sldChg chg="ord modTransition">
        <pc:chgData name="Guilherme Maia" userId="fc649a62-ead7-4fa2-a922-e831243cf1e5" providerId="ADAL" clId="{95D389AE-F498-4D82-A96B-2A60F394D44B}" dt="2019-12-04T00:14:15.636" v="161"/>
        <pc:sldMkLst>
          <pc:docMk/>
          <pc:sldMk cId="3811593456" sldId="10485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315313809" sldId="10487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2507572509" sldId="10488"/>
        </pc:sldMkLst>
      </pc:sldChg>
      <pc:sldChg chg="del">
        <pc:chgData name="Guilherme Maia" userId="fc649a62-ead7-4fa2-a922-e831243cf1e5" providerId="ADAL" clId="{95D389AE-F498-4D82-A96B-2A60F394D44B}" dt="2019-12-04T00:13:43.405" v="153" actId="47"/>
        <pc:sldMkLst>
          <pc:docMk/>
          <pc:sldMk cId="3285093739" sldId="10489"/>
        </pc:sldMkLst>
      </pc:sldChg>
      <pc:sldChg chg="modSp">
        <pc:chgData name="Guilherme Maia" userId="fc649a62-ead7-4fa2-a922-e831243cf1e5" providerId="ADAL" clId="{95D389AE-F498-4D82-A96B-2A60F394D44B}" dt="2019-12-03T20:24:29.789" v="75" actId="20577"/>
        <pc:sldMkLst>
          <pc:docMk/>
          <pc:sldMk cId="825661535" sldId="10491"/>
        </pc:sldMkLst>
        <pc:spChg chg="mod">
          <ac:chgData name="Guilherme Maia" userId="fc649a62-ead7-4fa2-a922-e831243cf1e5" providerId="ADAL" clId="{95D389AE-F498-4D82-A96B-2A60F394D44B}" dt="2019-12-03T20:24:29.789" v="75" actId="20577"/>
          <ac:spMkLst>
            <pc:docMk/>
            <pc:sldMk cId="825661535" sldId="10491"/>
            <ac:spMk id="2" creationId="{00000000-0000-0000-0000-000000000000}"/>
          </ac:spMkLst>
        </pc:spChg>
      </pc:sldChg>
      <pc:sldChg chg="modSp modAnim">
        <pc:chgData name="Guilherme Maia" userId="fc649a62-ead7-4fa2-a922-e831243cf1e5" providerId="ADAL" clId="{95D389AE-F498-4D82-A96B-2A60F394D44B}" dt="2019-12-03T20:24:23.072" v="73" actId="20577"/>
        <pc:sldMkLst>
          <pc:docMk/>
          <pc:sldMk cId="2796991040" sldId="10494"/>
        </pc:sldMkLst>
        <pc:spChg chg="mod">
          <ac:chgData name="Guilherme Maia" userId="fc649a62-ead7-4fa2-a922-e831243cf1e5" providerId="ADAL" clId="{95D389AE-F498-4D82-A96B-2A60F394D44B}" dt="2019-12-03T20:24:23.072" v="73" actId="20577"/>
          <ac:spMkLst>
            <pc:docMk/>
            <pc:sldMk cId="2796991040" sldId="10494"/>
            <ac:spMk id="2" creationId="{00000000-0000-0000-0000-000000000000}"/>
          </ac:spMkLst>
        </pc:spChg>
      </pc:sldChg>
      <pc:sldChg chg="modSp modTransition">
        <pc:chgData name="Guilherme Maia" userId="fc649a62-ead7-4fa2-a922-e831243cf1e5" providerId="ADAL" clId="{95D389AE-F498-4D82-A96B-2A60F394D44B}" dt="2019-12-04T00:13:50.385" v="158" actId="20577"/>
        <pc:sldMkLst>
          <pc:docMk/>
          <pc:sldMk cId="2795239469" sldId="10496"/>
        </pc:sldMkLst>
        <pc:spChg chg="mod">
          <ac:chgData name="Guilherme Maia" userId="fc649a62-ead7-4fa2-a922-e831243cf1e5" providerId="ADAL" clId="{95D389AE-F498-4D82-A96B-2A60F394D44B}" dt="2019-12-04T00:13:50.385" v="158" actId="20577"/>
          <ac:spMkLst>
            <pc:docMk/>
            <pc:sldMk cId="2795239469" sldId="10496"/>
            <ac:spMk id="2" creationId="{00000000-0000-0000-0000-000000000000}"/>
          </ac:spMkLst>
        </pc:spChg>
      </pc:sldChg>
      <pc:sldChg chg="del">
        <pc:chgData name="Guilherme Maia" userId="fc649a62-ead7-4fa2-a922-e831243cf1e5" providerId="ADAL" clId="{95D389AE-F498-4D82-A96B-2A60F394D44B}" dt="2019-12-04T00:13:29.662" v="152" actId="47"/>
        <pc:sldMkLst>
          <pc:docMk/>
          <pc:sldMk cId="4056216665" sldId="10498"/>
        </pc:sldMkLst>
      </pc:sldChg>
      <pc:sldChg chg="addSp delSp modSp add modTransition">
        <pc:chgData name="Guilherme Maia" userId="fc649a62-ead7-4fa2-a922-e831243cf1e5" providerId="ADAL" clId="{95D389AE-F498-4D82-A96B-2A60F394D44B}" dt="2019-12-04T00:21:38.190" v="266"/>
        <pc:sldMkLst>
          <pc:docMk/>
          <pc:sldMk cId="3478078816" sldId="10627"/>
        </pc:sldMkLst>
        <pc:spChg chg="del mod">
          <ac:chgData name="Guilherme Maia" userId="fc649a62-ead7-4fa2-a922-e831243cf1e5" providerId="ADAL" clId="{95D389AE-F498-4D82-A96B-2A60F394D44B}" dt="2019-12-04T00:21:14.341" v="258" actId="478"/>
          <ac:spMkLst>
            <pc:docMk/>
            <pc:sldMk cId="3478078816" sldId="10627"/>
            <ac:spMk id="2" creationId="{905F0E7A-2752-4217-A545-7685D90AB234}"/>
          </ac:spMkLst>
        </pc:spChg>
        <pc:spChg chg="add mod">
          <ac:chgData name="Guilherme Maia" userId="fc649a62-ead7-4fa2-a922-e831243cf1e5" providerId="ADAL" clId="{95D389AE-F498-4D82-A96B-2A60F394D44B}" dt="2019-12-04T00:21:10.203" v="255"/>
          <ac:spMkLst>
            <pc:docMk/>
            <pc:sldMk cId="3478078816" sldId="10627"/>
            <ac:spMk id="5" creationId="{072BBA07-989A-4140-9F7D-F52D771B1E4B}"/>
          </ac:spMkLst>
        </pc:spChg>
        <pc:spChg chg="add mod">
          <ac:chgData name="Guilherme Maia" userId="fc649a62-ead7-4fa2-a922-e831243cf1e5" providerId="ADAL" clId="{95D389AE-F498-4D82-A96B-2A60F394D44B}" dt="2019-12-04T00:21:14.341" v="258" actId="478"/>
          <ac:spMkLst>
            <pc:docMk/>
            <pc:sldMk cId="3478078816" sldId="10627"/>
            <ac:spMk id="6" creationId="{6EEDE18E-BB9B-4EB2-9C08-D4FC3DF869AE}"/>
          </ac:spMkLst>
        </pc:spChg>
      </pc:sldChg>
      <pc:sldChg chg="delSp modSp add ord">
        <pc:chgData name="Guilherme Maia" userId="fc649a62-ead7-4fa2-a922-e831243cf1e5" providerId="ADAL" clId="{95D389AE-F498-4D82-A96B-2A60F394D44B}" dt="2019-12-04T01:53:40.888" v="331" actId="255"/>
        <pc:sldMkLst>
          <pc:docMk/>
          <pc:sldMk cId="1715339790" sldId="10628"/>
        </pc:sldMkLst>
        <pc:spChg chg="mod">
          <ac:chgData name="Guilherme Maia" userId="fc649a62-ead7-4fa2-a922-e831243cf1e5" providerId="ADAL" clId="{95D389AE-F498-4D82-A96B-2A60F394D44B}" dt="2019-12-04T01:53:40.888" v="331" actId="255"/>
          <ac:spMkLst>
            <pc:docMk/>
            <pc:sldMk cId="1715339790" sldId="10628"/>
            <ac:spMk id="2" creationId="{00000000-0000-0000-0000-000000000000}"/>
          </ac:spMkLst>
        </pc:spChg>
        <pc:spChg chg="del">
          <ac:chgData name="Guilherme Maia" userId="fc649a62-ead7-4fa2-a922-e831243cf1e5" providerId="ADAL" clId="{95D389AE-F498-4D82-A96B-2A60F394D44B}" dt="2019-12-04T01:53:31.316" v="328" actId="478"/>
          <ac:spMkLst>
            <pc:docMk/>
            <pc:sldMk cId="1715339790" sldId="10628"/>
            <ac:spMk id="5" creationId="{731C4838-8C12-4E75-ACA9-1BA122131B86}"/>
          </ac:spMkLst>
        </pc:spChg>
      </pc:sldChg>
      <pc:sldMasterChg chg="delSldLayout">
        <pc:chgData name="Guilherme Maia" userId="fc649a62-ead7-4fa2-a922-e831243cf1e5" providerId="ADAL" clId="{95D389AE-F498-4D82-A96B-2A60F394D44B}" dt="2019-12-04T00:18:13.800" v="243" actId="47"/>
        <pc:sldMasterMkLst>
          <pc:docMk/>
          <pc:sldMasterMk cId="1042435122" sldId="2147484103"/>
        </pc:sldMasterMkLst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3308179867" sldId="2147484122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4047779936" sldId="2147484151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4274779304" sldId="2147484154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3467660732" sldId="2147484158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2197553311" sldId="2147484159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3919892847" sldId="2147484160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1686045951" sldId="2147484162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1944820658" sldId="2147484164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1106075836" sldId="2147484169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505474721" sldId="2147484176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2249607457" sldId="2147484177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899845916" sldId="2147484178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1913090494" sldId="2147484179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3046335216" sldId="2147484180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879781908" sldId="2147484181"/>
          </pc:sldLayoutMkLst>
        </pc:sldLayoutChg>
        <pc:sldLayoutChg chg="del">
          <pc:chgData name="Guilherme Maia" userId="fc649a62-ead7-4fa2-a922-e831243cf1e5" providerId="ADAL" clId="{95D389AE-F498-4D82-A96B-2A60F394D44B}" dt="2019-12-04T00:13:29.662" v="152" actId="47"/>
          <pc:sldLayoutMkLst>
            <pc:docMk/>
            <pc:sldMasterMk cId="1042435122" sldId="2147484103"/>
            <pc:sldLayoutMk cId="34895662" sldId="2147484182"/>
          </pc:sldLayoutMkLst>
        </pc:sldLayoutChg>
        <pc:sldLayoutChg chg="del">
          <pc:chgData name="Guilherme Maia" userId="fc649a62-ead7-4fa2-a922-e831243cf1e5" providerId="ADAL" clId="{95D389AE-F498-4D82-A96B-2A60F394D44B}" dt="2019-12-04T00:18:13.800" v="243" actId="47"/>
          <pc:sldLayoutMkLst>
            <pc:docMk/>
            <pc:sldMasterMk cId="1042435122" sldId="2147484103"/>
            <pc:sldLayoutMk cId="1701720414" sldId="2147484184"/>
          </pc:sldLayoutMkLst>
        </pc:sldLayoutChg>
      </pc:sldMasterChg>
    </pc:docChg>
  </pc:docChgLst>
  <pc:docChgLst>
    <pc:chgData name="Guilherme Maia" userId="fc649a62-ead7-4fa2-a922-e831243cf1e5" providerId="ADAL" clId="{9FAF4151-78F8-4126-8BE3-FDF71DFE0C17}"/>
    <pc:docChg chg="custSel addSld delSld modSld">
      <pc:chgData name="Guilherme Maia" userId="fc649a62-ead7-4fa2-a922-e831243cf1e5" providerId="ADAL" clId="{9FAF4151-78F8-4126-8BE3-FDF71DFE0C17}" dt="2019-12-24T15:53:07.340" v="490" actId="6549"/>
      <pc:docMkLst>
        <pc:docMk/>
      </pc:docMkLst>
      <pc:sldChg chg="del">
        <pc:chgData name="Guilherme Maia" userId="fc649a62-ead7-4fa2-a922-e831243cf1e5" providerId="ADAL" clId="{9FAF4151-78F8-4126-8BE3-FDF71DFE0C17}" dt="2019-12-21T18:59:03.870" v="380" actId="47"/>
        <pc:sldMkLst>
          <pc:docMk/>
          <pc:sldMk cId="4096563045" sldId="259"/>
        </pc:sldMkLst>
      </pc:sldChg>
      <pc:sldChg chg="del">
        <pc:chgData name="Guilherme Maia" userId="fc649a62-ead7-4fa2-a922-e831243cf1e5" providerId="ADAL" clId="{9FAF4151-78F8-4126-8BE3-FDF71DFE0C17}" dt="2019-12-21T18:59:01.634" v="371" actId="47"/>
        <pc:sldMkLst>
          <pc:docMk/>
          <pc:sldMk cId="2901408998" sldId="284"/>
        </pc:sldMkLst>
      </pc:sldChg>
      <pc:sldChg chg="del">
        <pc:chgData name="Guilherme Maia" userId="fc649a62-ead7-4fa2-a922-e831243cf1e5" providerId="ADAL" clId="{9FAF4151-78F8-4126-8BE3-FDF71DFE0C17}" dt="2019-12-21T18:59:02.742" v="373" actId="47"/>
        <pc:sldMkLst>
          <pc:docMk/>
          <pc:sldMk cId="1870651983" sldId="318"/>
        </pc:sldMkLst>
      </pc:sldChg>
      <pc:sldChg chg="del">
        <pc:chgData name="Guilherme Maia" userId="fc649a62-ead7-4fa2-a922-e831243cf1e5" providerId="ADAL" clId="{9FAF4151-78F8-4126-8BE3-FDF71DFE0C17}" dt="2019-12-21T18:59:02.874" v="375" actId="47"/>
        <pc:sldMkLst>
          <pc:docMk/>
          <pc:sldMk cId="3006928589" sldId="1360"/>
        </pc:sldMkLst>
      </pc:sldChg>
      <pc:sldChg chg="del">
        <pc:chgData name="Guilherme Maia" userId="fc649a62-ead7-4fa2-a922-e831243cf1e5" providerId="ADAL" clId="{9FAF4151-78F8-4126-8BE3-FDF71DFE0C17}" dt="2019-12-21T18:59:02.834" v="374" actId="47"/>
        <pc:sldMkLst>
          <pc:docMk/>
          <pc:sldMk cId="1059281245" sldId="1367"/>
        </pc:sldMkLst>
      </pc:sldChg>
      <pc:sldChg chg="del">
        <pc:chgData name="Guilherme Maia" userId="fc649a62-ead7-4fa2-a922-e831243cf1e5" providerId="ADAL" clId="{9FAF4151-78F8-4126-8BE3-FDF71DFE0C17}" dt="2019-12-21T18:59:02.912" v="376" actId="47"/>
        <pc:sldMkLst>
          <pc:docMk/>
          <pc:sldMk cId="2722438057" sldId="1368"/>
        </pc:sldMkLst>
      </pc:sldChg>
      <pc:sldChg chg="del">
        <pc:chgData name="Guilherme Maia" userId="fc649a62-ead7-4fa2-a922-e831243cf1e5" providerId="ADAL" clId="{9FAF4151-78F8-4126-8BE3-FDF71DFE0C17}" dt="2019-12-21T18:59:03.008" v="377" actId="47"/>
        <pc:sldMkLst>
          <pc:docMk/>
          <pc:sldMk cId="3865887245" sldId="1369"/>
        </pc:sldMkLst>
      </pc:sldChg>
      <pc:sldChg chg="del">
        <pc:chgData name="Guilherme Maia" userId="fc649a62-ead7-4fa2-a922-e831243cf1e5" providerId="ADAL" clId="{9FAF4151-78F8-4126-8BE3-FDF71DFE0C17}" dt="2019-12-21T18:59:03.218" v="378" actId="47"/>
        <pc:sldMkLst>
          <pc:docMk/>
          <pc:sldMk cId="3079963253" sldId="1370"/>
        </pc:sldMkLst>
      </pc:sldChg>
      <pc:sldChg chg="del">
        <pc:chgData name="Guilherme Maia" userId="fc649a62-ead7-4fa2-a922-e831243cf1e5" providerId="ADAL" clId="{9FAF4151-78F8-4126-8BE3-FDF71DFE0C17}" dt="2019-12-21T18:59:04.445" v="382" actId="47"/>
        <pc:sldMkLst>
          <pc:docMk/>
          <pc:sldMk cId="1748817433" sldId="1371"/>
        </pc:sldMkLst>
      </pc:sldChg>
      <pc:sldChg chg="del">
        <pc:chgData name="Guilherme Maia" userId="fc649a62-ead7-4fa2-a922-e831243cf1e5" providerId="ADAL" clId="{9FAF4151-78F8-4126-8BE3-FDF71DFE0C17}" dt="2019-12-21T18:59:03.747" v="379" actId="47"/>
        <pc:sldMkLst>
          <pc:docMk/>
          <pc:sldMk cId="4157075218" sldId="1464"/>
        </pc:sldMkLst>
      </pc:sldChg>
      <pc:sldChg chg="del">
        <pc:chgData name="Guilherme Maia" userId="fc649a62-ead7-4fa2-a922-e831243cf1e5" providerId="ADAL" clId="{9FAF4151-78F8-4126-8BE3-FDF71DFE0C17}" dt="2019-12-21T18:59:01.884" v="372" actId="47"/>
        <pc:sldMkLst>
          <pc:docMk/>
          <pc:sldMk cId="2513096043" sldId="10482"/>
        </pc:sldMkLst>
      </pc:sldChg>
      <pc:sldChg chg="del">
        <pc:chgData name="Guilherme Maia" userId="fc649a62-ead7-4fa2-a922-e831243cf1e5" providerId="ADAL" clId="{9FAF4151-78F8-4126-8BE3-FDF71DFE0C17}" dt="2019-12-21T18:59:01.293" v="370" actId="47"/>
        <pc:sldMkLst>
          <pc:docMk/>
          <pc:sldMk cId="825661535" sldId="10491"/>
        </pc:sldMkLst>
      </pc:sldChg>
      <pc:sldChg chg="addSp delSp modSp modAnim">
        <pc:chgData name="Guilherme Maia" userId="fc649a62-ead7-4fa2-a922-e831243cf1e5" providerId="ADAL" clId="{9FAF4151-78F8-4126-8BE3-FDF71DFE0C17}" dt="2019-12-24T15:53:07.340" v="490" actId="6549"/>
        <pc:sldMkLst>
          <pc:docMk/>
          <pc:sldMk cId="2796991040" sldId="10494"/>
        </pc:sldMkLst>
        <pc:spChg chg="mod">
          <ac:chgData name="Guilherme Maia" userId="fc649a62-ead7-4fa2-a922-e831243cf1e5" providerId="ADAL" clId="{9FAF4151-78F8-4126-8BE3-FDF71DFE0C17}" dt="2019-12-24T15:53:07.340" v="490" actId="6549"/>
          <ac:spMkLst>
            <pc:docMk/>
            <pc:sldMk cId="2796991040" sldId="10494"/>
            <ac:spMk id="2" creationId="{00000000-0000-0000-0000-000000000000}"/>
          </ac:spMkLst>
        </pc:spChg>
        <pc:picChg chg="add del">
          <ac:chgData name="Guilherme Maia" userId="fc649a62-ead7-4fa2-a922-e831243cf1e5" providerId="ADAL" clId="{9FAF4151-78F8-4126-8BE3-FDF71DFE0C17}" dt="2019-12-20T23:55:07.684" v="50"/>
          <ac:picMkLst>
            <pc:docMk/>
            <pc:sldMk cId="2796991040" sldId="10494"/>
            <ac:picMk id="4" creationId="{C8F04D29-1579-4CD0-9C22-A24B9EDC3A9C}"/>
          </ac:picMkLst>
        </pc:picChg>
      </pc:sldChg>
      <pc:sldChg chg="del">
        <pc:chgData name="Guilherme Maia" userId="fc649a62-ead7-4fa2-a922-e831243cf1e5" providerId="ADAL" clId="{9FAF4151-78F8-4126-8BE3-FDF71DFE0C17}" dt="2019-12-21T18:59:04.064" v="381" actId="47"/>
        <pc:sldMkLst>
          <pc:docMk/>
          <pc:sldMk cId="2795239469" sldId="10496"/>
        </pc:sldMkLst>
      </pc:sldChg>
      <pc:sldChg chg="del">
        <pc:chgData name="Guilherme Maia" userId="fc649a62-ead7-4fa2-a922-e831243cf1e5" providerId="ADAL" clId="{9FAF4151-78F8-4126-8BE3-FDF71DFE0C17}" dt="2019-12-21T18:59:04.700" v="383" actId="47"/>
        <pc:sldMkLst>
          <pc:docMk/>
          <pc:sldMk cId="779464963" sldId="10497"/>
        </pc:sldMkLst>
      </pc:sldChg>
      <pc:sldChg chg="del">
        <pc:chgData name="Guilherme Maia" userId="fc649a62-ead7-4fa2-a922-e831243cf1e5" providerId="ADAL" clId="{9FAF4151-78F8-4126-8BE3-FDF71DFE0C17}" dt="2019-12-21T18:59:00.976" v="369" actId="47"/>
        <pc:sldMkLst>
          <pc:docMk/>
          <pc:sldMk cId="3110175095" sldId="10498"/>
        </pc:sldMkLst>
      </pc:sldChg>
      <pc:sldChg chg="del">
        <pc:chgData name="Guilherme Maia" userId="fc649a62-ead7-4fa2-a922-e831243cf1e5" providerId="ADAL" clId="{9FAF4151-78F8-4126-8BE3-FDF71DFE0C17}" dt="2019-12-21T18:59:05.752" v="384" actId="47"/>
        <pc:sldMkLst>
          <pc:docMk/>
          <pc:sldMk cId="1535403297" sldId="10499"/>
        </pc:sldMkLst>
      </pc:sldChg>
      <pc:sldChg chg="del">
        <pc:chgData name="Guilherme Maia" userId="fc649a62-ead7-4fa2-a922-e831243cf1e5" providerId="ADAL" clId="{9FAF4151-78F8-4126-8BE3-FDF71DFE0C17}" dt="2019-12-20T23:56:48.115" v="66" actId="47"/>
        <pc:sldMkLst>
          <pc:docMk/>
          <pc:sldMk cId="4127669714" sldId="10500"/>
        </pc:sldMkLst>
      </pc:sldChg>
      <pc:sldChg chg="addSp delSp modSp modTransition modAnim">
        <pc:chgData name="Guilherme Maia" userId="fc649a62-ead7-4fa2-a922-e831243cf1e5" providerId="ADAL" clId="{9FAF4151-78F8-4126-8BE3-FDF71DFE0C17}" dt="2019-12-21T19:00:32.414" v="455" actId="1076"/>
        <pc:sldMkLst>
          <pc:docMk/>
          <pc:sldMk cId="2224410752" sldId="10501"/>
        </pc:sldMkLst>
        <pc:spChg chg="mod">
          <ac:chgData name="Guilherme Maia" userId="fc649a62-ead7-4fa2-a922-e831243cf1e5" providerId="ADAL" clId="{9FAF4151-78F8-4126-8BE3-FDF71DFE0C17}" dt="2019-12-21T19:00:32.414" v="455" actId="1076"/>
          <ac:spMkLst>
            <pc:docMk/>
            <pc:sldMk cId="2224410752" sldId="10501"/>
            <ac:spMk id="2" creationId="{00000000-0000-0000-0000-000000000000}"/>
          </ac:spMkLst>
        </pc:spChg>
        <pc:spChg chg="add del">
          <ac:chgData name="Guilherme Maia" userId="fc649a62-ead7-4fa2-a922-e831243cf1e5" providerId="ADAL" clId="{9FAF4151-78F8-4126-8BE3-FDF71DFE0C17}" dt="2019-12-20T23:59:37.761" v="180"/>
          <ac:spMkLst>
            <pc:docMk/>
            <pc:sldMk cId="2224410752" sldId="10501"/>
            <ac:spMk id="4" creationId="{93F538DB-E33C-4059-94D8-57FD902182DB}"/>
          </ac:spMkLst>
        </pc:spChg>
      </pc:sldChg>
      <pc:sldChg chg="del">
        <pc:chgData name="Guilherme Maia" userId="fc649a62-ead7-4fa2-a922-e831243cf1e5" providerId="ADAL" clId="{9FAF4151-78F8-4126-8BE3-FDF71DFE0C17}" dt="2019-12-21T18:59:00.298" v="368" actId="47"/>
        <pc:sldMkLst>
          <pc:docMk/>
          <pc:sldMk cId="3921672362" sldId="10502"/>
        </pc:sldMkLst>
      </pc:sldChg>
      <pc:sldChg chg="addSp delSp modSp add delAnim modAnim">
        <pc:chgData name="Guilherme Maia" userId="fc649a62-ead7-4fa2-a922-e831243cf1e5" providerId="ADAL" clId="{9FAF4151-78F8-4126-8BE3-FDF71DFE0C17}" dt="2019-12-20T23:58:07.250" v="175" actId="1076"/>
        <pc:sldMkLst>
          <pc:docMk/>
          <pc:sldMk cId="4230357545" sldId="10503"/>
        </pc:sldMkLst>
        <pc:spChg chg="del mod">
          <ac:chgData name="Guilherme Maia" userId="fc649a62-ead7-4fa2-a922-e831243cf1e5" providerId="ADAL" clId="{9FAF4151-78F8-4126-8BE3-FDF71DFE0C17}" dt="2019-12-20T23:55:42.324" v="59" actId="478"/>
          <ac:spMkLst>
            <pc:docMk/>
            <pc:sldMk cId="4230357545" sldId="10503"/>
            <ac:spMk id="2" creationId="{00000000-0000-0000-0000-000000000000}"/>
          </ac:spMkLst>
        </pc:spChg>
        <pc:spChg chg="add del mod">
          <ac:chgData name="Guilherme Maia" userId="fc649a62-ead7-4fa2-a922-e831243cf1e5" providerId="ADAL" clId="{9FAF4151-78F8-4126-8BE3-FDF71DFE0C17}" dt="2019-12-20T23:57:45.786" v="146" actId="478"/>
          <ac:spMkLst>
            <pc:docMk/>
            <pc:sldMk cId="4230357545" sldId="10503"/>
            <ac:spMk id="5" creationId="{C1164292-9EBD-40BC-9B71-51CE06BB870E}"/>
          </ac:spMkLst>
        </pc:spChg>
        <pc:spChg chg="add mod">
          <ac:chgData name="Guilherme Maia" userId="fc649a62-ead7-4fa2-a922-e831243cf1e5" providerId="ADAL" clId="{9FAF4151-78F8-4126-8BE3-FDF71DFE0C17}" dt="2019-12-20T23:57:59.456" v="173" actId="20577"/>
          <ac:spMkLst>
            <pc:docMk/>
            <pc:sldMk cId="4230357545" sldId="10503"/>
            <ac:spMk id="6" creationId="{6C4B82A4-D858-4A1D-8490-25EE5A400A24}"/>
          </ac:spMkLst>
        </pc:spChg>
        <pc:picChg chg="add mod">
          <ac:chgData name="Guilherme Maia" userId="fc649a62-ead7-4fa2-a922-e831243cf1e5" providerId="ADAL" clId="{9FAF4151-78F8-4126-8BE3-FDF71DFE0C17}" dt="2019-12-20T23:58:07.250" v="175" actId="1076"/>
          <ac:picMkLst>
            <pc:docMk/>
            <pc:sldMk cId="4230357545" sldId="10503"/>
            <ac:picMk id="4" creationId="{55D1F1DC-4E83-4014-9A53-E45B770DDF01}"/>
          </ac:picMkLst>
        </pc:picChg>
      </pc:sldChg>
      <pc:sldChg chg="modSp add modAnim">
        <pc:chgData name="Guilherme Maia" userId="fc649a62-ead7-4fa2-a922-e831243cf1e5" providerId="ADAL" clId="{9FAF4151-78F8-4126-8BE3-FDF71DFE0C17}" dt="2019-12-21T19:00:36.135" v="456" actId="1076"/>
        <pc:sldMkLst>
          <pc:docMk/>
          <pc:sldMk cId="2499345922" sldId="10504"/>
        </pc:sldMkLst>
        <pc:spChg chg="mod">
          <ac:chgData name="Guilherme Maia" userId="fc649a62-ead7-4fa2-a922-e831243cf1e5" providerId="ADAL" clId="{9FAF4151-78F8-4126-8BE3-FDF71DFE0C17}" dt="2019-12-21T19:00:36.135" v="456" actId="1076"/>
          <ac:spMkLst>
            <pc:docMk/>
            <pc:sldMk cId="2499345922" sldId="10504"/>
            <ac:spMk id="2" creationId="{00000000-0000-0000-0000-000000000000}"/>
          </ac:spMkLst>
        </pc:spChg>
      </pc:sldChg>
      <pc:sldChg chg="delSp modSp add del delAnim">
        <pc:chgData name="Guilherme Maia" userId="fc649a62-ead7-4fa2-a922-e831243cf1e5" providerId="ADAL" clId="{9FAF4151-78F8-4126-8BE3-FDF71DFE0C17}" dt="2019-12-20T23:55:17.076" v="57" actId="47"/>
        <pc:sldMkLst>
          <pc:docMk/>
          <pc:sldMk cId="2518714656" sldId="10504"/>
        </pc:sldMkLst>
        <pc:spChg chg="del mod">
          <ac:chgData name="Guilherme Maia" userId="fc649a62-ead7-4fa2-a922-e831243cf1e5" providerId="ADAL" clId="{9FAF4151-78F8-4126-8BE3-FDF71DFE0C17}" dt="2019-12-20T23:55:14.761" v="54" actId="478"/>
          <ac:spMkLst>
            <pc:docMk/>
            <pc:sldMk cId="2518714656" sldId="10504"/>
            <ac:spMk id="2" creationId="{00000000-0000-0000-0000-000000000000}"/>
          </ac:spMkLst>
        </pc:spChg>
      </pc:sldChg>
      <pc:sldChg chg="modSp add modAnim">
        <pc:chgData name="Guilherme Maia" userId="fc649a62-ead7-4fa2-a922-e831243cf1e5" providerId="ADAL" clId="{9FAF4151-78F8-4126-8BE3-FDF71DFE0C17}" dt="2019-12-24T15:52:31.073" v="484" actId="20577"/>
        <pc:sldMkLst>
          <pc:docMk/>
          <pc:sldMk cId="2059311619" sldId="10505"/>
        </pc:sldMkLst>
        <pc:spChg chg="mod">
          <ac:chgData name="Guilherme Maia" userId="fc649a62-ead7-4fa2-a922-e831243cf1e5" providerId="ADAL" clId="{9FAF4151-78F8-4126-8BE3-FDF71DFE0C17}" dt="2019-12-24T15:52:31.073" v="484" actId="20577"/>
          <ac:spMkLst>
            <pc:docMk/>
            <pc:sldMk cId="2059311619" sldId="10505"/>
            <ac:spMk id="2" creationId="{00000000-0000-0000-0000-000000000000}"/>
          </ac:spMkLst>
        </pc:spChg>
      </pc:sldChg>
      <pc:sldChg chg="add del">
        <pc:chgData name="Guilherme Maia" userId="fc649a62-ead7-4fa2-a922-e831243cf1e5" providerId="ADAL" clId="{9FAF4151-78F8-4126-8BE3-FDF71DFE0C17}" dt="2019-12-20T23:55:15.742" v="56"/>
        <pc:sldMkLst>
          <pc:docMk/>
          <pc:sldMk cId="2396457032" sldId="10505"/>
        </pc:sldMkLst>
      </pc:sldChg>
      <pc:sldMasterChg chg="delSldLayout">
        <pc:chgData name="Guilherme Maia" userId="fc649a62-ead7-4fa2-a922-e831243cf1e5" providerId="ADAL" clId="{9FAF4151-78F8-4126-8BE3-FDF71DFE0C17}" dt="2019-12-21T18:59:03.747" v="379" actId="47"/>
        <pc:sldMasterMkLst>
          <pc:docMk/>
          <pc:sldMasterMk cId="1042435122" sldId="2147484103"/>
        </pc:sldMasterMkLst>
        <pc:sldLayoutChg chg="del">
          <pc:chgData name="Guilherme Maia" userId="fc649a62-ead7-4fa2-a922-e831243cf1e5" providerId="ADAL" clId="{9FAF4151-78F8-4126-8BE3-FDF71DFE0C17}" dt="2019-12-21T18:59:03.218" v="378" actId="47"/>
          <pc:sldLayoutMkLst>
            <pc:docMk/>
            <pc:sldMasterMk cId="1042435122" sldId="2147484103"/>
            <pc:sldLayoutMk cId="378557701" sldId="2147484150"/>
          </pc:sldLayoutMkLst>
        </pc:sldLayoutChg>
        <pc:sldLayoutChg chg="del">
          <pc:chgData name="Guilherme Maia" userId="fc649a62-ead7-4fa2-a922-e831243cf1e5" providerId="ADAL" clId="{9FAF4151-78F8-4126-8BE3-FDF71DFE0C17}" dt="2019-12-21T18:59:03.747" v="379" actId="47"/>
          <pc:sldLayoutMkLst>
            <pc:docMk/>
            <pc:sldMasterMk cId="1042435122" sldId="2147484103"/>
            <pc:sldLayoutMk cId="692912141" sldId="2147484151"/>
          </pc:sldLayoutMkLst>
        </pc:sldLayoutChg>
      </pc:sldMasterChg>
    </pc:docChg>
  </pc:docChgLst>
  <pc:docChgLst>
    <pc:chgData name="Guilherme Maia" userId="fc649a62-ead7-4fa2-a922-e831243cf1e5" providerId="ADAL" clId="{953DC9C8-9C45-4EA1-BE87-B8A188982C45}"/>
    <pc:docChg chg="addSld delSld modSld">
      <pc:chgData name="Guilherme Maia" userId="fc649a62-ead7-4fa2-a922-e831243cf1e5" providerId="ADAL" clId="{953DC9C8-9C45-4EA1-BE87-B8A188982C45}" dt="2019-11-13T00:14:15.498" v="157"/>
      <pc:docMkLst>
        <pc:docMk/>
      </pc:docMkLst>
      <pc:sldChg chg="del">
        <pc:chgData name="Guilherme Maia" userId="fc649a62-ead7-4fa2-a922-e831243cf1e5" providerId="ADAL" clId="{953DC9C8-9C45-4EA1-BE87-B8A188982C45}" dt="2019-11-13T00:12:36.080" v="145" actId="47"/>
        <pc:sldMkLst>
          <pc:docMk/>
          <pc:sldMk cId="199493440" sldId="643"/>
        </pc:sldMkLst>
      </pc:sldChg>
      <pc:sldChg chg="del">
        <pc:chgData name="Guilherme Maia" userId="fc649a62-ead7-4fa2-a922-e831243cf1e5" providerId="ADAL" clId="{953DC9C8-9C45-4EA1-BE87-B8A188982C45}" dt="2019-11-13T00:12:37.892" v="147" actId="47"/>
        <pc:sldMkLst>
          <pc:docMk/>
          <pc:sldMk cId="2992416307" sldId="644"/>
        </pc:sldMkLst>
      </pc:sldChg>
      <pc:sldChg chg="del">
        <pc:chgData name="Guilherme Maia" userId="fc649a62-ead7-4fa2-a922-e831243cf1e5" providerId="ADAL" clId="{953DC9C8-9C45-4EA1-BE87-B8A188982C45}" dt="2019-11-13T00:12:36.809" v="146" actId="47"/>
        <pc:sldMkLst>
          <pc:docMk/>
          <pc:sldMk cId="3541308485" sldId="857"/>
        </pc:sldMkLst>
      </pc:sldChg>
      <pc:sldChg chg="del">
        <pc:chgData name="Guilherme Maia" userId="fc649a62-ead7-4fa2-a922-e831243cf1e5" providerId="ADAL" clId="{953DC9C8-9C45-4EA1-BE87-B8A188982C45}" dt="2019-11-13T00:12:35.325" v="144" actId="47"/>
        <pc:sldMkLst>
          <pc:docMk/>
          <pc:sldMk cId="1059281245" sldId="1367"/>
        </pc:sldMkLst>
      </pc:sldChg>
      <pc:sldChg chg="add">
        <pc:chgData name="Guilherme Maia" userId="fc649a62-ead7-4fa2-a922-e831243cf1e5" providerId="ADAL" clId="{953DC9C8-9C45-4EA1-BE87-B8A188982C45}" dt="2019-11-13T00:12:30.326" v="143"/>
        <pc:sldMkLst>
          <pc:docMk/>
          <pc:sldMk cId="4157075218" sldId="1464"/>
        </pc:sldMkLst>
      </pc:sldChg>
      <pc:sldChg chg="modSp add">
        <pc:chgData name="Guilherme Maia" userId="fc649a62-ead7-4fa2-a922-e831243cf1e5" providerId="ADAL" clId="{953DC9C8-9C45-4EA1-BE87-B8A188982C45}" dt="2019-11-13T00:13:34.280" v="153" actId="207"/>
        <pc:sldMkLst>
          <pc:docMk/>
          <pc:sldMk cId="2588411081" sldId="1497"/>
        </pc:sldMkLst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5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7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8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9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0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1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2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3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4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5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16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3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4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6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7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8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29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0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1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2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3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4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35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34.280" v="153" actId="207"/>
          <ac:spMkLst>
            <pc:docMk/>
            <pc:sldMk cId="2588411081" sldId="1497"/>
            <ac:spMk id="40" creationId="{B6436DE9-37BA-4BF5-979A-EDAF001CC775}"/>
          </ac:spMkLst>
        </pc:spChg>
        <pc:spChg chg="mod">
          <ac:chgData name="Guilherme Maia" userId="fc649a62-ead7-4fa2-a922-e831243cf1e5" providerId="ADAL" clId="{953DC9C8-9C45-4EA1-BE87-B8A188982C45}" dt="2019-11-13T00:13:32.171" v="152" actId="2711"/>
          <ac:spMkLst>
            <pc:docMk/>
            <pc:sldMk cId="2588411081" sldId="1497"/>
            <ac:spMk id="52" creationId="{00000000-0000-0000-0000-000000000000}"/>
          </ac:spMkLst>
        </pc:spChg>
        <pc:grpChg chg="mod">
          <ac:chgData name="Guilherme Maia" userId="fc649a62-ead7-4fa2-a922-e831243cf1e5" providerId="ADAL" clId="{953DC9C8-9C45-4EA1-BE87-B8A188982C45}" dt="2019-11-13T00:13:34.280" v="153" actId="207"/>
          <ac:grpSpMkLst>
            <pc:docMk/>
            <pc:sldMk cId="2588411081" sldId="1497"/>
            <ac:grpSpMk id="6" creationId="{8C27C6A7-44ED-4AD1-A185-B00043B1E3CE}"/>
          </ac:grpSpMkLst>
        </pc:grpChg>
        <pc:grpChg chg="mod">
          <ac:chgData name="Guilherme Maia" userId="fc649a62-ead7-4fa2-a922-e831243cf1e5" providerId="ADAL" clId="{953DC9C8-9C45-4EA1-BE87-B8A188982C45}" dt="2019-11-13T00:13:34.280" v="153" actId="207"/>
          <ac:grpSpMkLst>
            <pc:docMk/>
            <pc:sldMk cId="2588411081" sldId="1497"/>
            <ac:grpSpMk id="17" creationId="{0EF0D47D-F4CB-442F-B52C-CB273CD960FA}"/>
          </ac:grpSpMkLst>
        </pc:grpChg>
        <pc:grpChg chg="mod">
          <ac:chgData name="Guilherme Maia" userId="fc649a62-ead7-4fa2-a922-e831243cf1e5" providerId="ADAL" clId="{953DC9C8-9C45-4EA1-BE87-B8A188982C45}" dt="2019-11-13T00:13:34.280" v="153" actId="207"/>
          <ac:grpSpMkLst>
            <pc:docMk/>
            <pc:sldMk cId="2588411081" sldId="1497"/>
            <ac:grpSpMk id="18" creationId="{B42B6980-6A0A-4F2F-9A83-BCE9126F08D5}"/>
          </ac:grpSpMkLst>
        </pc:grpChg>
        <pc:grpChg chg="mod">
          <ac:chgData name="Guilherme Maia" userId="fc649a62-ead7-4fa2-a922-e831243cf1e5" providerId="ADAL" clId="{953DC9C8-9C45-4EA1-BE87-B8A188982C45}" dt="2019-11-13T00:13:34.280" v="153" actId="207"/>
          <ac:grpSpMkLst>
            <pc:docMk/>
            <pc:sldMk cId="2588411081" sldId="1497"/>
            <ac:grpSpMk id="19" creationId="{CC8AE599-82E2-466F-A54C-33359CCE4FCE}"/>
          </ac:grpSpMkLst>
        </pc:grpChg>
        <pc:grpChg chg="mod">
          <ac:chgData name="Guilherme Maia" userId="fc649a62-ead7-4fa2-a922-e831243cf1e5" providerId="ADAL" clId="{953DC9C8-9C45-4EA1-BE87-B8A188982C45}" dt="2019-11-13T00:13:34.280" v="153" actId="207"/>
          <ac:grpSpMkLst>
            <pc:docMk/>
            <pc:sldMk cId="2588411081" sldId="1497"/>
            <ac:grpSpMk id="20" creationId="{6A3628CA-6FAE-404C-ADDB-8C71B0883949}"/>
          </ac:grpSpMkLst>
        </pc:grpChg>
      </pc:sldChg>
      <pc:sldChg chg="add del">
        <pc:chgData name="Guilherme Maia" userId="fc649a62-ead7-4fa2-a922-e831243cf1e5" providerId="ADAL" clId="{953DC9C8-9C45-4EA1-BE87-B8A188982C45}" dt="2019-11-13T00:13:15.896" v="151" actId="47"/>
        <pc:sldMkLst>
          <pc:docMk/>
          <pc:sldMk cId="853911127" sldId="1502"/>
        </pc:sldMkLst>
      </pc:sldChg>
      <pc:sldChg chg="modSp add">
        <pc:chgData name="Guilherme Maia" userId="fc649a62-ead7-4fa2-a922-e831243cf1e5" providerId="ADAL" clId="{953DC9C8-9C45-4EA1-BE87-B8A188982C45}" dt="2019-11-13T00:13:56.858" v="155" actId="207"/>
        <pc:sldMkLst>
          <pc:docMk/>
          <pc:sldMk cId="2289357893" sldId="1555"/>
        </pc:sldMkLst>
        <pc:spChg chg="mod">
          <ac:chgData name="Guilherme Maia" userId="fc649a62-ead7-4fa2-a922-e831243cf1e5" providerId="ADAL" clId="{953DC9C8-9C45-4EA1-BE87-B8A188982C45}" dt="2019-11-13T00:13:53.453" v="154" actId="207"/>
          <ac:spMkLst>
            <pc:docMk/>
            <pc:sldMk cId="2289357893" sldId="1555"/>
            <ac:spMk id="5" creationId="{00000000-0000-0000-0000-000000000000}"/>
          </ac:spMkLst>
        </pc:spChg>
        <pc:spChg chg="mod">
          <ac:chgData name="Guilherme Maia" userId="fc649a62-ead7-4fa2-a922-e831243cf1e5" providerId="ADAL" clId="{953DC9C8-9C45-4EA1-BE87-B8A188982C45}" dt="2019-11-13T00:13:56.858" v="155" actId="207"/>
          <ac:spMkLst>
            <pc:docMk/>
            <pc:sldMk cId="2289357893" sldId="1555"/>
            <ac:spMk id="6" creationId="{00000000-0000-0000-0000-000000000000}"/>
          </ac:spMkLst>
        </pc:spChg>
      </pc:sldChg>
      <pc:sldChg chg="modSp modAnim">
        <pc:chgData name="Guilherme Maia" userId="fc649a62-ead7-4fa2-a922-e831243cf1e5" providerId="ADAL" clId="{953DC9C8-9C45-4EA1-BE87-B8A188982C45}" dt="2019-11-13T00:14:15.498" v="157"/>
        <pc:sldMkLst>
          <pc:docMk/>
          <pc:sldMk cId="3646394226" sldId="10481"/>
        </pc:sldMkLst>
        <pc:spChg chg="mod">
          <ac:chgData name="Guilherme Maia" userId="fc649a62-ead7-4fa2-a922-e831243cf1e5" providerId="ADAL" clId="{953DC9C8-9C45-4EA1-BE87-B8A188982C45}" dt="2019-11-13T00:14:15.498" v="157"/>
          <ac:spMkLst>
            <pc:docMk/>
            <pc:sldMk cId="3646394226" sldId="10481"/>
            <ac:spMk id="2" creationId="{00000000-0000-0000-0000-000000000000}"/>
          </ac:spMkLst>
        </pc:spChg>
      </pc:sldChg>
      <pc:sldChg chg="modSp">
        <pc:chgData name="Guilherme Maia" userId="fc649a62-ead7-4fa2-a922-e831243cf1e5" providerId="ADAL" clId="{953DC9C8-9C45-4EA1-BE87-B8A188982C45}" dt="2019-11-11T19:42:22.598" v="142" actId="1076"/>
        <pc:sldMkLst>
          <pc:docMk/>
          <pc:sldMk cId="825661535" sldId="10491"/>
        </pc:sldMkLst>
        <pc:spChg chg="mod">
          <ac:chgData name="Guilherme Maia" userId="fc649a62-ead7-4fa2-a922-e831243cf1e5" providerId="ADAL" clId="{953DC9C8-9C45-4EA1-BE87-B8A188982C45}" dt="2019-11-11T19:42:22.598" v="142" actId="1076"/>
          <ac:spMkLst>
            <pc:docMk/>
            <pc:sldMk cId="825661535" sldId="10491"/>
            <ac:spMk id="2" creationId="{00000000-0000-0000-0000-000000000000}"/>
          </ac:spMkLst>
        </pc:spChg>
      </pc:sldChg>
      <pc:sldChg chg="modSp modAnim">
        <pc:chgData name="Guilherme Maia" userId="fc649a62-ead7-4fa2-a922-e831243cf1e5" providerId="ADAL" clId="{953DC9C8-9C45-4EA1-BE87-B8A188982C45}" dt="2019-11-11T19:42:13.332" v="140" actId="114"/>
        <pc:sldMkLst>
          <pc:docMk/>
          <pc:sldMk cId="2796991040" sldId="10494"/>
        </pc:sldMkLst>
        <pc:spChg chg="mod">
          <ac:chgData name="Guilherme Maia" userId="fc649a62-ead7-4fa2-a922-e831243cf1e5" providerId="ADAL" clId="{953DC9C8-9C45-4EA1-BE87-B8A188982C45}" dt="2019-11-11T19:42:13.332" v="140" actId="114"/>
          <ac:spMkLst>
            <pc:docMk/>
            <pc:sldMk cId="2796991040" sldId="10494"/>
            <ac:spMk id="2" creationId="{00000000-0000-0000-0000-000000000000}"/>
          </ac:spMkLst>
        </pc:spChg>
      </pc:sldChg>
      <pc:sldChg chg="add del">
        <pc:chgData name="Guilherme Maia" userId="fc649a62-ead7-4fa2-a922-e831243cf1e5" providerId="ADAL" clId="{953DC9C8-9C45-4EA1-BE87-B8A188982C45}" dt="2019-11-13T00:13:00.969" v="149"/>
        <pc:sldMkLst>
          <pc:docMk/>
          <pc:sldMk cId="2600312838" sldId="10498"/>
        </pc:sldMkLst>
      </pc:sldChg>
      <pc:sldChg chg="modSp add">
        <pc:chgData name="Guilherme Maia" userId="fc649a62-ead7-4fa2-a922-e831243cf1e5" providerId="ADAL" clId="{953DC9C8-9C45-4EA1-BE87-B8A188982C45}" dt="2019-11-13T00:14:05.108" v="156" actId="207"/>
        <pc:sldMkLst>
          <pc:docMk/>
          <pc:sldMk cId="2830521208" sldId="10498"/>
        </pc:sldMkLst>
        <pc:spChg chg="mod">
          <ac:chgData name="Guilherme Maia" userId="fc649a62-ead7-4fa2-a922-e831243cf1e5" providerId="ADAL" clId="{953DC9C8-9C45-4EA1-BE87-B8A188982C45}" dt="2019-11-13T00:14:05.108" v="156" actId="207"/>
          <ac:spMkLst>
            <pc:docMk/>
            <pc:sldMk cId="2830521208" sldId="10498"/>
            <ac:spMk id="12" creationId="{00000000-0000-0000-0000-000000000000}"/>
          </ac:spMkLst>
        </pc:spChg>
      </pc:sldChg>
      <pc:sldMasterChg chg="delSldLayout">
        <pc:chgData name="Guilherme Maia" userId="fc649a62-ead7-4fa2-a922-e831243cf1e5" providerId="ADAL" clId="{953DC9C8-9C45-4EA1-BE87-B8A188982C45}" dt="2019-11-13T00:13:15.896" v="151" actId="47"/>
        <pc:sldMasterMkLst>
          <pc:docMk/>
          <pc:sldMasterMk cId="1042435122" sldId="2147484103"/>
        </pc:sldMasterMkLst>
        <pc:sldLayoutChg chg="del">
          <pc:chgData name="Guilherme Maia" userId="fc649a62-ead7-4fa2-a922-e831243cf1e5" providerId="ADAL" clId="{953DC9C8-9C45-4EA1-BE87-B8A188982C45}" dt="2019-11-13T00:13:15.896" v="151" actId="47"/>
          <pc:sldLayoutMkLst>
            <pc:docMk/>
            <pc:sldMasterMk cId="1042435122" sldId="2147484103"/>
            <pc:sldLayoutMk cId="117590602" sldId="2147484125"/>
          </pc:sldLayoutMkLst>
        </pc:sldLayoutChg>
      </pc:sldMasterChg>
    </pc:docChg>
  </pc:docChgLst>
  <pc:docChgLst>
    <pc:chgData name="Guilherme Maia" userId="fc649a62-ead7-4fa2-a922-e831243cf1e5" providerId="ADAL" clId="{BB7FA804-FC31-489E-B3EA-47A6F64E40B6}"/>
    <pc:docChg chg="custSel addSld delSld modSld sldOrd modMainMaster">
      <pc:chgData name="Guilherme Maia" userId="fc649a62-ead7-4fa2-a922-e831243cf1e5" providerId="ADAL" clId="{BB7FA804-FC31-489E-B3EA-47A6F64E40B6}" dt="2019-10-29T05:03:57.880" v="969" actId="478"/>
      <pc:docMkLst>
        <pc:docMk/>
      </pc:docMkLst>
      <pc:sldChg chg="del">
        <pc:chgData name="Guilherme Maia" userId="fc649a62-ead7-4fa2-a922-e831243cf1e5" providerId="ADAL" clId="{BB7FA804-FC31-489E-B3EA-47A6F64E40B6}" dt="2019-10-28T22:32:45.867" v="103" actId="47"/>
        <pc:sldMkLst>
          <pc:docMk/>
          <pc:sldMk cId="1512936185" sldId="260"/>
        </pc:sldMkLst>
      </pc:sldChg>
      <pc:sldChg chg="del">
        <pc:chgData name="Guilherme Maia" userId="fc649a62-ead7-4fa2-a922-e831243cf1e5" providerId="ADAL" clId="{BB7FA804-FC31-489E-B3EA-47A6F64E40B6}" dt="2019-10-28T23:17:47.193" v="867" actId="47"/>
        <pc:sldMkLst>
          <pc:docMk/>
          <pc:sldMk cId="2319709244" sldId="262"/>
        </pc:sldMkLst>
      </pc:sldChg>
      <pc:sldChg chg="modTransition">
        <pc:chgData name="Guilherme Maia" userId="fc649a62-ead7-4fa2-a922-e831243cf1e5" providerId="ADAL" clId="{BB7FA804-FC31-489E-B3EA-47A6F64E40B6}" dt="2019-10-28T22:33:36.605" v="120"/>
        <pc:sldMkLst>
          <pc:docMk/>
          <pc:sldMk cId="4056216665" sldId="263"/>
        </pc:sldMkLst>
      </pc:sldChg>
      <pc:sldChg chg="modTransition">
        <pc:chgData name="Guilherme Maia" userId="fc649a62-ead7-4fa2-a922-e831243cf1e5" providerId="ADAL" clId="{BB7FA804-FC31-489E-B3EA-47A6F64E40B6}" dt="2019-10-28T22:34:25.045" v="128"/>
        <pc:sldMkLst>
          <pc:docMk/>
          <pc:sldMk cId="0" sldId="270"/>
        </pc:sldMkLst>
      </pc:sldChg>
      <pc:sldChg chg="addSp modSp modTransition">
        <pc:chgData name="Guilherme Maia" userId="fc649a62-ead7-4fa2-a922-e831243cf1e5" providerId="ADAL" clId="{BB7FA804-FC31-489E-B3EA-47A6F64E40B6}" dt="2019-10-29T01:37:16.794" v="965"/>
        <pc:sldMkLst>
          <pc:docMk/>
          <pc:sldMk cId="2945425769" sldId="276"/>
        </pc:sldMkLst>
        <pc:spChg chg="mod">
          <ac:chgData name="Guilherme Maia" userId="fc649a62-ead7-4fa2-a922-e831243cf1e5" providerId="ADAL" clId="{BB7FA804-FC31-489E-B3EA-47A6F64E40B6}" dt="2019-10-28T22:37:37.914" v="211" actId="2711"/>
          <ac:spMkLst>
            <pc:docMk/>
            <pc:sldMk cId="2945425769" sldId="276"/>
            <ac:spMk id="3" creationId="{00000000-0000-0000-0000-000000000000}"/>
          </ac:spMkLst>
        </pc:spChg>
        <pc:spChg chg="mod">
          <ac:chgData name="Guilherme Maia" userId="fc649a62-ead7-4fa2-a922-e831243cf1e5" providerId="ADAL" clId="{BB7FA804-FC31-489E-B3EA-47A6F64E40B6}" dt="2019-10-28T22:37:37.914" v="211" actId="2711"/>
          <ac:spMkLst>
            <pc:docMk/>
            <pc:sldMk cId="2945425769" sldId="276"/>
            <ac:spMk id="7" creationId="{17F8D67C-EF62-4F8C-AA96-F823237A43F2}"/>
          </ac:spMkLst>
        </pc:spChg>
        <pc:picChg chg="mod">
          <ac:chgData name="Guilherme Maia" userId="fc649a62-ead7-4fa2-a922-e831243cf1e5" providerId="ADAL" clId="{BB7FA804-FC31-489E-B3EA-47A6F64E40B6}" dt="2019-10-28T22:37:37.914" v="211" actId="2711"/>
          <ac:picMkLst>
            <pc:docMk/>
            <pc:sldMk cId="2945425769" sldId="276"/>
            <ac:picMk id="6" creationId="{A106C137-C02C-42FE-A18E-055D807F9028}"/>
          </ac:picMkLst>
        </pc:picChg>
        <pc:picChg chg="mod">
          <ac:chgData name="Guilherme Maia" userId="fc649a62-ead7-4fa2-a922-e831243cf1e5" providerId="ADAL" clId="{BB7FA804-FC31-489E-B3EA-47A6F64E40B6}" dt="2019-10-28T22:37:37.914" v="211" actId="2711"/>
          <ac:picMkLst>
            <pc:docMk/>
            <pc:sldMk cId="2945425769" sldId="276"/>
            <ac:picMk id="1026" creationId="{00000000-0000-0000-0000-000000000000}"/>
          </ac:picMkLst>
        </pc:picChg>
        <pc:inkChg chg="add">
          <ac:chgData name="Guilherme Maia" userId="fc649a62-ead7-4fa2-a922-e831243cf1e5" providerId="ADAL" clId="{BB7FA804-FC31-489E-B3EA-47A6F64E40B6}" dt="2019-10-29T01:37:16.794" v="965"/>
          <ac:inkMkLst>
            <pc:docMk/>
            <pc:sldMk cId="2945425769" sldId="276"/>
            <ac:inkMk id="2" creationId="{BD60E1F9-1E54-4567-A871-F1AF6837C6DD}"/>
          </ac:inkMkLst>
        </pc:inkChg>
      </pc:sldChg>
      <pc:sldChg chg="modSp">
        <pc:chgData name="Guilherme Maia" userId="fc649a62-ead7-4fa2-a922-e831243cf1e5" providerId="ADAL" clId="{BB7FA804-FC31-489E-B3EA-47A6F64E40B6}" dt="2019-10-28T22:35:18.749" v="136" actId="2711"/>
        <pc:sldMkLst>
          <pc:docMk/>
          <pc:sldMk cId="1974478059" sldId="277"/>
        </pc:sldMkLst>
        <pc:spChg chg="mod">
          <ac:chgData name="Guilherme Maia" userId="fc649a62-ead7-4fa2-a922-e831243cf1e5" providerId="ADAL" clId="{BB7FA804-FC31-489E-B3EA-47A6F64E40B6}" dt="2019-10-28T22:35:18.749" v="136" actId="2711"/>
          <ac:spMkLst>
            <pc:docMk/>
            <pc:sldMk cId="1974478059" sldId="277"/>
            <ac:spMk id="2" creationId="{00000000-0000-0000-0000-000000000000}"/>
          </ac:spMkLst>
        </pc:spChg>
      </pc:sldChg>
      <pc:sldChg chg="modSp">
        <pc:chgData name="Guilherme Maia" userId="fc649a62-ead7-4fa2-a922-e831243cf1e5" providerId="ADAL" clId="{BB7FA804-FC31-489E-B3EA-47A6F64E40B6}" dt="2019-10-28T23:17:38.624" v="866" actId="20577"/>
        <pc:sldMkLst>
          <pc:docMk/>
          <pc:sldMk cId="167094349" sldId="280"/>
        </pc:sldMkLst>
        <pc:spChg chg="mod">
          <ac:chgData name="Guilherme Maia" userId="fc649a62-ead7-4fa2-a922-e831243cf1e5" providerId="ADAL" clId="{BB7FA804-FC31-489E-B3EA-47A6F64E40B6}" dt="2019-10-28T23:17:38.624" v="866" actId="20577"/>
          <ac:spMkLst>
            <pc:docMk/>
            <pc:sldMk cId="167094349" sldId="280"/>
            <ac:spMk id="2" creationId="{00000000-0000-0000-0000-000000000000}"/>
          </ac:spMkLst>
        </pc:spChg>
      </pc:sldChg>
      <pc:sldChg chg="modSp">
        <pc:chgData name="Guilherme Maia" userId="fc649a62-ead7-4fa2-a922-e831243cf1e5" providerId="ADAL" clId="{BB7FA804-FC31-489E-B3EA-47A6F64E40B6}" dt="2019-10-29T01:05:05.343" v="927"/>
        <pc:sldMkLst>
          <pc:docMk/>
          <pc:sldMk cId="3303116671" sldId="316"/>
        </pc:sldMkLst>
        <pc:spChg chg="mod">
          <ac:chgData name="Guilherme Maia" userId="fc649a62-ead7-4fa2-a922-e831243cf1e5" providerId="ADAL" clId="{BB7FA804-FC31-489E-B3EA-47A6F64E40B6}" dt="2019-10-28T22:36:37.050" v="195" actId="14100"/>
          <ac:spMkLst>
            <pc:docMk/>
            <pc:sldMk cId="3303116671" sldId="316"/>
            <ac:spMk id="2" creationId="{00000000-0000-0000-0000-000000000000}"/>
          </ac:spMkLst>
        </pc:spChg>
        <pc:spChg chg="mod">
          <ac:chgData name="Guilherme Maia" userId="fc649a62-ead7-4fa2-a922-e831243cf1e5" providerId="ADAL" clId="{BB7FA804-FC31-489E-B3EA-47A6F64E40B6}" dt="2019-10-29T01:05:05.343" v="927"/>
          <ac:spMkLst>
            <pc:docMk/>
            <pc:sldMk cId="3303116671" sldId="316"/>
            <ac:spMk id="3" creationId="{578BB5F3-C318-4719-B76F-AD28422937EC}"/>
          </ac:spMkLst>
        </pc:spChg>
        <pc:spChg chg="mod">
          <ac:chgData name="Guilherme Maia" userId="fc649a62-ead7-4fa2-a922-e831243cf1e5" providerId="ADAL" clId="{BB7FA804-FC31-489E-B3EA-47A6F64E40B6}" dt="2019-10-28T22:36:27.658" v="192" actId="404"/>
          <ac:spMkLst>
            <pc:docMk/>
            <pc:sldMk cId="3303116671" sldId="316"/>
            <ac:spMk id="6" creationId="{251FA054-0931-4EB9-9C0B-A7F6894D2F2A}"/>
          </ac:spMkLst>
        </pc:spChg>
      </pc:sldChg>
      <pc:sldChg chg="modTransition">
        <pc:chgData name="Guilherme Maia" userId="fc649a62-ead7-4fa2-a922-e831243cf1e5" providerId="ADAL" clId="{BB7FA804-FC31-489E-B3EA-47A6F64E40B6}" dt="2019-10-28T22:33:10.029" v="110"/>
        <pc:sldMkLst>
          <pc:docMk/>
          <pc:sldMk cId="1870651983" sldId="318"/>
        </pc:sldMkLst>
      </pc:sldChg>
      <pc:sldChg chg="modTransition">
        <pc:chgData name="Guilherme Maia" userId="fc649a62-ead7-4fa2-a922-e831243cf1e5" providerId="ADAL" clId="{BB7FA804-FC31-489E-B3EA-47A6F64E40B6}" dt="2019-10-28T22:33:34.870" v="119"/>
        <pc:sldMkLst>
          <pc:docMk/>
          <pc:sldMk cId="715999180" sldId="330"/>
        </pc:sldMkLst>
      </pc:sldChg>
      <pc:sldChg chg="modSp">
        <pc:chgData name="Guilherme Maia" userId="fc649a62-ead7-4fa2-a922-e831243cf1e5" providerId="ADAL" clId="{BB7FA804-FC31-489E-B3EA-47A6F64E40B6}" dt="2019-10-29T01:02:03.918" v="926" actId="20577"/>
        <pc:sldMkLst>
          <pc:docMk/>
          <pc:sldMk cId="176639409" sldId="332"/>
        </pc:sldMkLst>
        <pc:spChg chg="mod">
          <ac:chgData name="Guilherme Maia" userId="fc649a62-ead7-4fa2-a922-e831243cf1e5" providerId="ADAL" clId="{BB7FA804-FC31-489E-B3EA-47A6F64E40B6}" dt="2019-10-29T01:02:03.918" v="926" actId="20577"/>
          <ac:spMkLst>
            <pc:docMk/>
            <pc:sldMk cId="176639409" sldId="332"/>
            <ac:spMk id="2" creationId="{00000000-0000-0000-0000-000000000000}"/>
          </ac:spMkLst>
        </pc:spChg>
        <pc:picChg chg="mod">
          <ac:chgData name="Guilherme Maia" userId="fc649a62-ead7-4fa2-a922-e831243cf1e5" providerId="ADAL" clId="{BB7FA804-FC31-489E-B3EA-47A6F64E40B6}" dt="2019-10-28T22:35:27.558" v="137" actId="2711"/>
          <ac:picMkLst>
            <pc:docMk/>
            <pc:sldMk cId="176639409" sldId="332"/>
            <ac:picMk id="1026" creationId="{69C44D0F-D96A-440E-AB31-FB6DEE68E157}"/>
          </ac:picMkLst>
        </pc:picChg>
        <pc:picChg chg="mod">
          <ac:chgData name="Guilherme Maia" userId="fc649a62-ead7-4fa2-a922-e831243cf1e5" providerId="ADAL" clId="{BB7FA804-FC31-489E-B3EA-47A6F64E40B6}" dt="2019-10-28T22:35:27.558" v="137" actId="2711"/>
          <ac:picMkLst>
            <pc:docMk/>
            <pc:sldMk cId="176639409" sldId="332"/>
            <ac:picMk id="2050" creationId="{00000000-0000-0000-0000-000000000000}"/>
          </ac:picMkLst>
        </pc:picChg>
      </pc:sldChg>
      <pc:sldChg chg="del">
        <pc:chgData name="Guilherme Maia" userId="fc649a62-ead7-4fa2-a922-e831243cf1e5" providerId="ADAL" clId="{BB7FA804-FC31-489E-B3EA-47A6F64E40B6}" dt="2019-10-28T22:32:48.961" v="104" actId="47"/>
        <pc:sldMkLst>
          <pc:docMk/>
          <pc:sldMk cId="3465474124" sldId="345"/>
        </pc:sldMkLst>
      </pc:sldChg>
      <pc:sldChg chg="del">
        <pc:chgData name="Guilherme Maia" userId="fc649a62-ead7-4fa2-a922-e831243cf1e5" providerId="ADAL" clId="{BB7FA804-FC31-489E-B3EA-47A6F64E40B6}" dt="2019-10-28T23:17:47.894" v="868" actId="47"/>
        <pc:sldMkLst>
          <pc:docMk/>
          <pc:sldMk cId="306543452" sldId="353"/>
        </pc:sldMkLst>
      </pc:sldChg>
      <pc:sldChg chg="del">
        <pc:chgData name="Guilherme Maia" userId="fc649a62-ead7-4fa2-a922-e831243cf1e5" providerId="ADAL" clId="{BB7FA804-FC31-489E-B3EA-47A6F64E40B6}" dt="2019-10-28T22:32:52.129" v="106" actId="47"/>
        <pc:sldMkLst>
          <pc:docMk/>
          <pc:sldMk cId="3317877341" sldId="380"/>
        </pc:sldMkLst>
      </pc:sldChg>
      <pc:sldChg chg="del">
        <pc:chgData name="Guilherme Maia" userId="fc649a62-ead7-4fa2-a922-e831243cf1e5" providerId="ADAL" clId="{BB7FA804-FC31-489E-B3EA-47A6F64E40B6}" dt="2019-10-28T22:32:54.195" v="107" actId="47"/>
        <pc:sldMkLst>
          <pc:docMk/>
          <pc:sldMk cId="1176964639" sldId="381"/>
        </pc:sldMkLst>
      </pc:sldChg>
      <pc:sldChg chg="del">
        <pc:chgData name="Guilherme Maia" userId="fc649a62-ead7-4fa2-a922-e831243cf1e5" providerId="ADAL" clId="{BB7FA804-FC31-489E-B3EA-47A6F64E40B6}" dt="2019-10-28T22:32:56.492" v="108" actId="47"/>
        <pc:sldMkLst>
          <pc:docMk/>
          <pc:sldMk cId="2516319929" sldId="383"/>
        </pc:sldMkLst>
      </pc:sldChg>
      <pc:sldChg chg="del">
        <pc:chgData name="Guilherme Maia" userId="fc649a62-ead7-4fa2-a922-e831243cf1e5" providerId="ADAL" clId="{BB7FA804-FC31-489E-B3EA-47A6F64E40B6}" dt="2019-10-28T22:32:50.867" v="105" actId="47"/>
        <pc:sldMkLst>
          <pc:docMk/>
          <pc:sldMk cId="2185642509" sldId="406"/>
        </pc:sldMkLst>
      </pc:sldChg>
      <pc:sldChg chg="modSp modTransition">
        <pc:chgData name="Guilherme Maia" userId="fc649a62-ead7-4fa2-a922-e831243cf1e5" providerId="ADAL" clId="{BB7FA804-FC31-489E-B3EA-47A6F64E40B6}" dt="2019-10-28T22:33:29.631" v="118"/>
        <pc:sldMkLst>
          <pc:docMk/>
          <pc:sldMk cId="1059281245" sldId="1367"/>
        </pc:sldMkLst>
        <pc:spChg chg="mod">
          <ac:chgData name="Guilherme Maia" userId="fc649a62-ead7-4fa2-a922-e831243cf1e5" providerId="ADAL" clId="{BB7FA804-FC31-489E-B3EA-47A6F64E40B6}" dt="2019-10-28T22:33:25.931" v="117"/>
          <ac:spMkLst>
            <pc:docMk/>
            <pc:sldMk cId="1059281245" sldId="1367"/>
            <ac:spMk id="2" creationId="{00000000-0000-0000-0000-000000000000}"/>
          </ac:spMkLst>
        </pc:spChg>
      </pc:sldChg>
      <pc:sldChg chg="modSp modTransition">
        <pc:chgData name="Guilherme Maia" userId="fc649a62-ead7-4fa2-a922-e831243cf1e5" providerId="ADAL" clId="{BB7FA804-FC31-489E-B3EA-47A6F64E40B6}" dt="2019-10-28T22:33:50.897" v="124"/>
        <pc:sldMkLst>
          <pc:docMk/>
          <pc:sldMk cId="2722438057" sldId="1368"/>
        </pc:sldMkLst>
        <pc:spChg chg="mod">
          <ac:chgData name="Guilherme Maia" userId="fc649a62-ead7-4fa2-a922-e831243cf1e5" providerId="ADAL" clId="{BB7FA804-FC31-489E-B3EA-47A6F64E40B6}" dt="2019-10-28T22:33:50.897" v="124"/>
          <ac:spMkLst>
            <pc:docMk/>
            <pc:sldMk cId="2722438057" sldId="1368"/>
            <ac:spMk id="10" creationId="{1E56F7F3-CD85-4BB5-A702-63DE0FE0128D}"/>
          </ac:spMkLst>
        </pc:spChg>
      </pc:sldChg>
      <pc:sldChg chg="modSp modTransition">
        <pc:chgData name="Guilherme Maia" userId="fc649a62-ead7-4fa2-a922-e831243cf1e5" providerId="ADAL" clId="{BB7FA804-FC31-489E-B3EA-47A6F64E40B6}" dt="2019-10-28T22:33:44.704" v="123"/>
        <pc:sldMkLst>
          <pc:docMk/>
          <pc:sldMk cId="3865887245" sldId="1369"/>
        </pc:sldMkLst>
        <pc:spChg chg="mod">
          <ac:chgData name="Guilherme Maia" userId="fc649a62-ead7-4fa2-a922-e831243cf1e5" providerId="ADAL" clId="{BB7FA804-FC31-489E-B3EA-47A6F64E40B6}" dt="2019-10-28T22:33:44.704" v="123"/>
          <ac:spMkLst>
            <pc:docMk/>
            <pc:sldMk cId="3865887245" sldId="1369"/>
            <ac:spMk id="7" creationId="{ACE0FABD-CBE4-4BFC-B303-718195DA8DE9}"/>
          </ac:spMkLst>
        </pc:spChg>
      </pc:sldChg>
      <pc:sldChg chg="addSp delSp modSp add">
        <pc:chgData name="Guilherme Maia" userId="fc649a62-ead7-4fa2-a922-e831243cf1e5" providerId="ADAL" clId="{BB7FA804-FC31-489E-B3EA-47A6F64E40B6}" dt="2019-10-29T05:03:54.748" v="968" actId="478"/>
        <pc:sldMkLst>
          <pc:docMk/>
          <pc:sldMk cId="1748817433" sldId="1371"/>
        </pc:sldMkLst>
        <pc:spChg chg="mod">
          <ac:chgData name="Guilherme Maia" userId="fc649a62-ead7-4fa2-a922-e831243cf1e5" providerId="ADAL" clId="{BB7FA804-FC31-489E-B3EA-47A6F64E40B6}" dt="2019-10-29T00:37:50.054" v="895" actId="1036"/>
          <ac:spMkLst>
            <pc:docMk/>
            <pc:sldMk cId="1748817433" sldId="1371"/>
            <ac:spMk id="50" creationId="{A83F37D1-7474-47E5-93D6-A5E933056F6F}"/>
          </ac:spMkLst>
        </pc:spChg>
        <pc:inkChg chg="add del">
          <ac:chgData name="Guilherme Maia" userId="fc649a62-ead7-4fa2-a922-e831243cf1e5" providerId="ADAL" clId="{BB7FA804-FC31-489E-B3EA-47A6F64E40B6}" dt="2019-10-29T05:03:54.748" v="968" actId="478"/>
          <ac:inkMkLst>
            <pc:docMk/>
            <pc:sldMk cId="1748817433" sldId="1371"/>
            <ac:inkMk id="2" creationId="{D80533A8-E030-44A8-A878-3715D3CB6A76}"/>
          </ac:inkMkLst>
        </pc:inkChg>
      </pc:sldChg>
      <pc:sldChg chg="addSp delSp modSp modTransition">
        <pc:chgData name="Guilherme Maia" userId="fc649a62-ead7-4fa2-a922-e831243cf1e5" providerId="ADAL" clId="{BB7FA804-FC31-489E-B3EA-47A6F64E40B6}" dt="2019-10-29T05:03:57.880" v="969" actId="478"/>
        <pc:sldMkLst>
          <pc:docMk/>
          <pc:sldMk cId="1116025545" sldId="1397"/>
        </pc:sldMkLst>
        <pc:spChg chg="mod">
          <ac:chgData name="Guilherme Maia" userId="fc649a62-ead7-4fa2-a922-e831243cf1e5" providerId="ADAL" clId="{BB7FA804-FC31-489E-B3EA-47A6F64E40B6}" dt="2019-10-28T22:34:18.500" v="127" actId="120"/>
          <ac:spMkLst>
            <pc:docMk/>
            <pc:sldMk cId="1116025545" sldId="1397"/>
            <ac:spMk id="2" creationId="{00000000-0000-0000-0000-000000000000}"/>
          </ac:spMkLst>
        </pc:spChg>
        <pc:spChg chg="add del">
          <ac:chgData name="Guilherme Maia" userId="fc649a62-ead7-4fa2-a922-e831243cf1e5" providerId="ADAL" clId="{BB7FA804-FC31-489E-B3EA-47A6F64E40B6}" dt="2019-10-28T23:59:36.536" v="886"/>
          <ac:spMkLst>
            <pc:docMk/>
            <pc:sldMk cId="1116025545" sldId="1397"/>
            <ac:spMk id="3" creationId="{C3076C73-DED0-4636-85EF-45E4DED8322E}"/>
          </ac:spMkLst>
        </pc:spChg>
        <pc:spChg chg="add del">
          <ac:chgData name="Guilherme Maia" userId="fc649a62-ead7-4fa2-a922-e831243cf1e5" providerId="ADAL" clId="{BB7FA804-FC31-489E-B3EA-47A6F64E40B6}" dt="2019-10-28T23:59:37.949" v="888"/>
          <ac:spMkLst>
            <pc:docMk/>
            <pc:sldMk cId="1116025545" sldId="1397"/>
            <ac:spMk id="4" creationId="{AF4FB2B0-90DC-450E-A3C5-5B8E42196418}"/>
          </ac:spMkLst>
        </pc:spChg>
        <pc:inkChg chg="add del">
          <ac:chgData name="Guilherme Maia" userId="fc649a62-ead7-4fa2-a922-e831243cf1e5" providerId="ADAL" clId="{BB7FA804-FC31-489E-B3EA-47A6F64E40B6}" dt="2019-10-29T05:03:57.880" v="969" actId="478"/>
          <ac:inkMkLst>
            <pc:docMk/>
            <pc:sldMk cId="1116025545" sldId="1397"/>
            <ac:inkMk id="5" creationId="{55993679-D332-4CA7-97F7-9E3DAF8C118E}"/>
          </ac:inkMkLst>
        </pc:inkChg>
      </pc:sldChg>
      <pc:sldChg chg="modSp">
        <pc:chgData name="Guilherme Maia" userId="fc649a62-ead7-4fa2-a922-e831243cf1e5" providerId="ADAL" clId="{BB7FA804-FC31-489E-B3EA-47A6F64E40B6}" dt="2019-10-28T22:34:32.382" v="129" actId="2711"/>
        <pc:sldMkLst>
          <pc:docMk/>
          <pc:sldMk cId="3739505304" sldId="9921"/>
        </pc:sldMkLst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" creationId="{FA803192-C623-4085-B4FE-1EAD566564A6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4" creationId="{5BC576F2-3F1C-43C1-B6A6-51B1E629A0EF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66" creationId="{7F4BBE01-2C2C-4E31-969A-AC6F48B3B7F1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67" creationId="{1C18C2D3-5A7D-42BE-820D-51E0F8CC2D48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68" creationId="{537DDC38-DA40-498D-A8C0-4AF81CE17BF1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81" creationId="{74C7FF9F-1140-44F6-B0F7-2D9EFF402859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83" creationId="{1DCAA2F7-32FF-4132-9D11-85E9CE8F5B9F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84" creationId="{79D9B4D7-8CB4-47E1-8A12-32BC59E03C1A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85" creationId="{481C9084-7041-4028-AEBA-28038FB8A2B7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93" creationId="{FB526A4D-7A5C-4727-9187-518E8483D921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94" creationId="{7481921F-DAC0-47CB-853C-D49B0A6FC150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195" creationId="{9854A971-220A-45D5-9441-DF6989FB2FFC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09" creationId="{938CD055-7384-4E09-856F-2E6A5573B4F3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10" creationId="{F9E11414-4978-41A3-9739-46AE19C46102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18" creationId="{6AED1E1F-B4E4-4B26-8F94-B5E04FBE0029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19" creationId="{3E888806-3C15-4F64-A411-F5E73D1210BB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20" creationId="{D54A5576-22FD-4D09-876D-2011AA11302C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32" creationId="{7E352289-5DEE-4353-8014-845DD1AAA942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34" creationId="{14ABF421-B77D-45A1-A409-7CA36D5BE129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35" creationId="{A86F173E-432E-453F-A335-93B3FD7D45A2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40" creationId="{8BDE9C53-6D26-42D3-B93E-1AF810470592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73" creationId="{585B11FF-AF92-405F-8247-8DFE7EFEC205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274" creationId="{167DF051-673F-4A29-973F-0376D93E27A9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439" creationId="{B25FF04A-9052-40B7-811F-EDA014F5E5A8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444" creationId="{AA27C8C7-2587-4DA1-9E31-60C2D11D99E7}"/>
          </ac:spMkLst>
        </pc:spChg>
        <pc:spChg chg="mod">
          <ac:chgData name="Guilherme Maia" userId="fc649a62-ead7-4fa2-a922-e831243cf1e5" providerId="ADAL" clId="{BB7FA804-FC31-489E-B3EA-47A6F64E40B6}" dt="2019-10-28T22:34:32.382" v="129" actId="2711"/>
          <ac:spMkLst>
            <pc:docMk/>
            <pc:sldMk cId="3739505304" sldId="9921"/>
            <ac:spMk id="644" creationId="{643E4639-49A3-43F5-BC9A-99D7A39C294A}"/>
          </ac:spMkLst>
        </pc:s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3" creationId="{CB5E7275-2FC8-46E3-8936-734325FDED3A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191" creationId="{F0ACF263-2683-4948-A1E9-8E2A3B7C506C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197" creationId="{A0EB1D21-FFF6-4E7E-A06B-F9EA7179BBF7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198" creationId="{E7E1B172-A4A4-417F-9C54-8907AD8D452E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01" creationId="{0E6C876D-0660-41EF-B226-A32D217BCD92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06" creationId="{ED943C3E-30A0-4F23-AE83-B35A2113861E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11" creationId="{BD49CAA9-5EE2-401C-A66E-2CF444FCA074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29" creationId="{D26A60F0-B61A-495B-BD1B-E00D9BBE18E3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76" creationId="{BC99FF48-9A2A-4FAA-B6BB-30EBEE07A732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283" creationId="{E28AEFBE-2B51-4B39-BDBA-BE86802FAB72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304" creationId="{E8A6F326-433F-4E86-8201-CED6A29A915A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340" creationId="{C77FCDA7-CB5F-43D6-848B-C128695969E6}"/>
          </ac:grpSpMkLst>
        </pc:grpChg>
        <pc:grpChg chg="mod">
          <ac:chgData name="Guilherme Maia" userId="fc649a62-ead7-4fa2-a922-e831243cf1e5" providerId="ADAL" clId="{BB7FA804-FC31-489E-B3EA-47A6F64E40B6}" dt="2019-10-28T22:34:32.382" v="129" actId="2711"/>
          <ac:grpSpMkLst>
            <pc:docMk/>
            <pc:sldMk cId="3739505304" sldId="9921"/>
            <ac:grpSpMk id="433" creationId="{F7BA5DD9-DB4E-41E9-8F9B-DD35AFB4D490}"/>
          </ac:grpSpMkLst>
        </pc:grpChg>
        <pc:picChg chg="mod">
          <ac:chgData name="Guilherme Maia" userId="fc649a62-ead7-4fa2-a922-e831243cf1e5" providerId="ADAL" clId="{BB7FA804-FC31-489E-B3EA-47A6F64E40B6}" dt="2019-10-28T22:34:32.382" v="129" actId="2711"/>
          <ac:picMkLst>
            <pc:docMk/>
            <pc:sldMk cId="3739505304" sldId="9921"/>
            <ac:picMk id="10" creationId="{678D030B-595F-49BB-A3BF-35BCE32D593F}"/>
          </ac:picMkLst>
        </pc:picChg>
        <pc:cxnChg chg="mod">
          <ac:chgData name="Guilherme Maia" userId="fc649a62-ead7-4fa2-a922-e831243cf1e5" providerId="ADAL" clId="{BB7FA804-FC31-489E-B3EA-47A6F64E40B6}" dt="2019-10-28T22:34:32.382" v="129" actId="2711"/>
          <ac:cxnSpMkLst>
            <pc:docMk/>
            <pc:sldMk cId="3739505304" sldId="9921"/>
            <ac:cxnSpMk id="7" creationId="{938AEBC6-24B7-4E1E-A3D0-7D0A64B61EE6}"/>
          </ac:cxnSpMkLst>
        </pc:cxnChg>
        <pc:cxnChg chg="mod">
          <ac:chgData name="Guilherme Maia" userId="fc649a62-ead7-4fa2-a922-e831243cf1e5" providerId="ADAL" clId="{BB7FA804-FC31-489E-B3EA-47A6F64E40B6}" dt="2019-10-28T22:34:32.382" v="129" actId="2711"/>
          <ac:cxnSpMkLst>
            <pc:docMk/>
            <pc:sldMk cId="3739505304" sldId="9921"/>
            <ac:cxnSpMk id="8" creationId="{CE4C8C77-77BB-427A-BF29-B8E5BF4AD66C}"/>
          </ac:cxnSpMkLst>
        </pc:cxnChg>
        <pc:cxnChg chg="mod">
          <ac:chgData name="Guilherme Maia" userId="fc649a62-ead7-4fa2-a922-e831243cf1e5" providerId="ADAL" clId="{BB7FA804-FC31-489E-B3EA-47A6F64E40B6}" dt="2019-10-28T22:34:32.382" v="129" actId="2711"/>
          <ac:cxnSpMkLst>
            <pc:docMk/>
            <pc:sldMk cId="3739505304" sldId="9921"/>
            <ac:cxnSpMk id="9" creationId="{F294677F-E332-4800-821E-8E899E2744E1}"/>
          </ac:cxnSpMkLst>
        </pc:cxnChg>
        <pc:cxnChg chg="mod">
          <ac:chgData name="Guilherme Maia" userId="fc649a62-ead7-4fa2-a922-e831243cf1e5" providerId="ADAL" clId="{BB7FA804-FC31-489E-B3EA-47A6F64E40B6}" dt="2019-10-28T22:34:32.382" v="129" actId="2711"/>
          <ac:cxnSpMkLst>
            <pc:docMk/>
            <pc:sldMk cId="3739505304" sldId="9921"/>
            <ac:cxnSpMk id="217" creationId="{EEA61829-20C6-4B58-98DD-FCFDB6CDEA72}"/>
          </ac:cxnSpMkLst>
        </pc:cxnChg>
      </pc:sldChg>
      <pc:sldChg chg="modSp modAnim">
        <pc:chgData name="Guilherme Maia" userId="fc649a62-ead7-4fa2-a922-e831243cf1e5" providerId="ADAL" clId="{BB7FA804-FC31-489E-B3EA-47A6F64E40B6}" dt="2019-10-28T13:04:33.628" v="91" actId="2711"/>
        <pc:sldMkLst>
          <pc:docMk/>
          <pc:sldMk cId="3646394226" sldId="10481"/>
        </pc:sldMkLst>
        <pc:spChg chg="mod">
          <ac:chgData name="Guilherme Maia" userId="fc649a62-ead7-4fa2-a922-e831243cf1e5" providerId="ADAL" clId="{BB7FA804-FC31-489E-B3EA-47A6F64E40B6}" dt="2019-10-28T13:04:33.628" v="91" actId="2711"/>
          <ac:spMkLst>
            <pc:docMk/>
            <pc:sldMk cId="3646394226" sldId="10481"/>
            <ac:spMk id="2" creationId="{00000000-0000-0000-0000-000000000000}"/>
          </ac:spMkLst>
        </pc:spChg>
        <pc:picChg chg="mod">
          <ac:chgData name="Guilherme Maia" userId="fc649a62-ead7-4fa2-a922-e831243cf1e5" providerId="ADAL" clId="{BB7FA804-FC31-489E-B3EA-47A6F64E40B6}" dt="2019-10-28T13:04:33.628" v="91" actId="2711"/>
          <ac:picMkLst>
            <pc:docMk/>
            <pc:sldMk cId="3646394226" sldId="10481"/>
            <ac:picMk id="3" creationId="{EF7D5657-3BAC-4C19-9D5E-CB2C7B6B27DA}"/>
          </ac:picMkLst>
        </pc:picChg>
      </pc:sldChg>
      <pc:sldChg chg="addSp delSp modSp modTransition modAnim">
        <pc:chgData name="Guilherme Maia" userId="fc649a62-ead7-4fa2-a922-e831243cf1e5" providerId="ADAL" clId="{BB7FA804-FC31-489E-B3EA-47A6F64E40B6}" dt="2019-10-28T22:41:43.911" v="235"/>
        <pc:sldMkLst>
          <pc:docMk/>
          <pc:sldMk cId="2513096043" sldId="10482"/>
        </pc:sldMkLst>
        <pc:picChg chg="del">
          <ac:chgData name="Guilherme Maia" userId="fc649a62-ead7-4fa2-a922-e831243cf1e5" providerId="ADAL" clId="{BB7FA804-FC31-489E-B3EA-47A6F64E40B6}" dt="2019-10-28T22:38:28.287" v="214" actId="478"/>
          <ac:picMkLst>
            <pc:docMk/>
            <pc:sldMk cId="2513096043" sldId="10482"/>
            <ac:picMk id="14" creationId="{8FD518EE-AD1B-4CDE-AF37-BEC03FD58DF6}"/>
          </ac:picMkLst>
        </pc:picChg>
        <pc:picChg chg="mod">
          <ac:chgData name="Guilherme Maia" userId="fc649a62-ead7-4fa2-a922-e831243cf1e5" providerId="ADAL" clId="{BB7FA804-FC31-489E-B3EA-47A6F64E40B6}" dt="2019-10-28T22:41:28.015" v="229" actId="1076"/>
          <ac:picMkLst>
            <pc:docMk/>
            <pc:sldMk cId="2513096043" sldId="10482"/>
            <ac:picMk id="17" creationId="{D80EA1DE-CA67-48E7-92E7-1C4929AA9F17}"/>
          </ac:picMkLst>
        </pc:picChg>
        <pc:picChg chg="mod">
          <ac:chgData name="Guilherme Maia" userId="fc649a62-ead7-4fa2-a922-e831243cf1e5" providerId="ADAL" clId="{BB7FA804-FC31-489E-B3EA-47A6F64E40B6}" dt="2019-10-28T22:38:36.117" v="220" actId="1076"/>
          <ac:picMkLst>
            <pc:docMk/>
            <pc:sldMk cId="2513096043" sldId="10482"/>
            <ac:picMk id="19" creationId="{99F8E407-EB25-430C-A948-0B102AF1A13C}"/>
          </ac:picMkLst>
        </pc:picChg>
        <pc:picChg chg="add mod">
          <ac:chgData name="Guilherme Maia" userId="fc649a62-ead7-4fa2-a922-e831243cf1e5" providerId="ADAL" clId="{BB7FA804-FC31-489E-B3EA-47A6F64E40B6}" dt="2019-10-28T22:41:31.055" v="231" actId="1076"/>
          <ac:picMkLst>
            <pc:docMk/>
            <pc:sldMk cId="2513096043" sldId="10482"/>
            <ac:picMk id="3074" creationId="{9324F3E4-69EE-4ADF-993C-3C666550EBB4}"/>
          </ac:picMkLst>
        </pc:picChg>
        <pc:picChg chg="add del">
          <ac:chgData name="Guilherme Maia" userId="fc649a62-ead7-4fa2-a922-e831243cf1e5" providerId="ADAL" clId="{BB7FA804-FC31-489E-B3EA-47A6F64E40B6}" dt="2019-10-28T22:39:16.359" v="223"/>
          <ac:picMkLst>
            <pc:docMk/>
            <pc:sldMk cId="2513096043" sldId="10482"/>
            <ac:picMk id="3076" creationId="{D2E50614-B322-489A-9F80-C7BB2B52A5B5}"/>
          </ac:picMkLst>
        </pc:picChg>
        <pc:picChg chg="add mod">
          <ac:chgData name="Guilherme Maia" userId="fc649a62-ead7-4fa2-a922-e831243cf1e5" providerId="ADAL" clId="{BB7FA804-FC31-489E-B3EA-47A6F64E40B6}" dt="2019-10-28T22:41:26.534" v="228" actId="1076"/>
          <ac:picMkLst>
            <pc:docMk/>
            <pc:sldMk cId="2513096043" sldId="10482"/>
            <ac:picMk id="3078" creationId="{1A605A19-7B08-413B-A90D-3A501CD3CA9F}"/>
          </ac:picMkLst>
        </pc:picChg>
      </pc:sldChg>
      <pc:sldChg chg="addSp delSp modSp modAnim">
        <pc:chgData name="Guilherme Maia" userId="fc649a62-ead7-4fa2-a922-e831243cf1e5" providerId="ADAL" clId="{BB7FA804-FC31-489E-B3EA-47A6F64E40B6}" dt="2019-10-29T05:03:48.402" v="967" actId="478"/>
        <pc:sldMkLst>
          <pc:docMk/>
          <pc:sldMk cId="4002716965" sldId="10483"/>
        </pc:sldMkLst>
        <pc:spChg chg="mod">
          <ac:chgData name="Guilherme Maia" userId="fc649a62-ead7-4fa2-a922-e831243cf1e5" providerId="ADAL" clId="{BB7FA804-FC31-489E-B3EA-47A6F64E40B6}" dt="2019-10-28T23:16:31.356" v="779" actId="404"/>
          <ac:spMkLst>
            <pc:docMk/>
            <pc:sldMk cId="4002716965" sldId="10483"/>
            <ac:spMk id="2" creationId="{B20B2E21-9990-4B89-9E45-926299DC581A}"/>
          </ac:spMkLst>
        </pc:spChg>
        <pc:spChg chg="mod">
          <ac:chgData name="Guilherme Maia" userId="fc649a62-ead7-4fa2-a922-e831243cf1e5" providerId="ADAL" clId="{BB7FA804-FC31-489E-B3EA-47A6F64E40B6}" dt="2019-10-28T23:16:28.252" v="778" actId="1076"/>
          <ac:spMkLst>
            <pc:docMk/>
            <pc:sldMk cId="4002716965" sldId="10483"/>
            <ac:spMk id="3" creationId="{00000000-0000-0000-0000-000000000000}"/>
          </ac:spMkLst>
        </pc:spChg>
        <pc:spChg chg="mod">
          <ac:chgData name="Guilherme Maia" userId="fc649a62-ead7-4fa2-a922-e831243cf1e5" providerId="ADAL" clId="{BB7FA804-FC31-489E-B3EA-47A6F64E40B6}" dt="2019-10-28T23:16:16.483" v="774" actId="1076"/>
          <ac:spMkLst>
            <pc:docMk/>
            <pc:sldMk cId="4002716965" sldId="10483"/>
            <ac:spMk id="4" creationId="{00000000-0000-0000-0000-000000000000}"/>
          </ac:spMkLst>
        </pc:spChg>
        <pc:inkChg chg="add del">
          <ac:chgData name="Guilherme Maia" userId="fc649a62-ead7-4fa2-a922-e831243cf1e5" providerId="ADAL" clId="{BB7FA804-FC31-489E-B3EA-47A6F64E40B6}" dt="2019-10-29T05:03:48.402" v="967" actId="478"/>
          <ac:inkMkLst>
            <pc:docMk/>
            <pc:sldMk cId="4002716965" sldId="10483"/>
            <ac:inkMk id="5" creationId="{ABA91F9A-754A-4270-A042-BAE7869B772E}"/>
          </ac:inkMkLst>
        </pc:inkChg>
      </pc:sldChg>
      <pc:sldChg chg="modTransition">
        <pc:chgData name="Guilherme Maia" userId="fc649a62-ead7-4fa2-a922-e831243cf1e5" providerId="ADAL" clId="{BB7FA804-FC31-489E-B3EA-47A6F64E40B6}" dt="2019-10-28T22:34:41.319" v="130"/>
        <pc:sldMkLst>
          <pc:docMk/>
          <pc:sldMk cId="946586403" sldId="10484"/>
        </pc:sldMkLst>
      </pc:sldChg>
      <pc:sldChg chg="modSp modAnim">
        <pc:chgData name="Guilherme Maia" userId="fc649a62-ead7-4fa2-a922-e831243cf1e5" providerId="ADAL" clId="{BB7FA804-FC31-489E-B3EA-47A6F64E40B6}" dt="2019-10-28T22:32:29.200" v="102" actId="1076"/>
        <pc:sldMkLst>
          <pc:docMk/>
          <pc:sldMk cId="825661535" sldId="10491"/>
        </pc:sldMkLst>
        <pc:spChg chg="mod">
          <ac:chgData name="Guilherme Maia" userId="fc649a62-ead7-4fa2-a922-e831243cf1e5" providerId="ADAL" clId="{BB7FA804-FC31-489E-B3EA-47A6F64E40B6}" dt="2019-10-28T22:32:29.200" v="102" actId="1076"/>
          <ac:spMkLst>
            <pc:docMk/>
            <pc:sldMk cId="825661535" sldId="10491"/>
            <ac:spMk id="2" creationId="{00000000-0000-0000-0000-000000000000}"/>
          </ac:spMkLst>
        </pc:spChg>
      </pc:sldChg>
      <pc:sldChg chg="del">
        <pc:chgData name="Guilherme Maia" userId="fc649a62-ead7-4fa2-a922-e831243cf1e5" providerId="ADAL" clId="{BB7FA804-FC31-489E-B3EA-47A6F64E40B6}" dt="2019-10-28T23:17:49.375" v="869" actId="47"/>
        <pc:sldMkLst>
          <pc:docMk/>
          <pc:sldMk cId="888293092" sldId="10493"/>
        </pc:sldMkLst>
      </pc:sldChg>
      <pc:sldChg chg="addSp modSp modAnim">
        <pc:chgData name="Guilherme Maia" userId="fc649a62-ead7-4fa2-a922-e831243cf1e5" providerId="ADAL" clId="{BB7FA804-FC31-489E-B3EA-47A6F64E40B6}" dt="2019-10-28T13:18:08.428" v="100" actId="255"/>
        <pc:sldMkLst>
          <pc:docMk/>
          <pc:sldMk cId="2796991040" sldId="10494"/>
        </pc:sldMkLst>
        <pc:spChg chg="mod">
          <ac:chgData name="Guilherme Maia" userId="fc649a62-ead7-4fa2-a922-e831243cf1e5" providerId="ADAL" clId="{BB7FA804-FC31-489E-B3EA-47A6F64E40B6}" dt="2019-10-28T13:18:08.428" v="100" actId="255"/>
          <ac:spMkLst>
            <pc:docMk/>
            <pc:sldMk cId="2796991040" sldId="10494"/>
            <ac:spMk id="2" creationId="{00000000-0000-0000-0000-000000000000}"/>
          </ac:spMkLst>
        </pc:spChg>
        <pc:spChg chg="add mod">
          <ac:chgData name="Guilherme Maia" userId="fc649a62-ead7-4fa2-a922-e831243cf1e5" providerId="ADAL" clId="{BB7FA804-FC31-489E-B3EA-47A6F64E40B6}" dt="2019-10-28T13:18:03.309" v="98" actId="404"/>
          <ac:spMkLst>
            <pc:docMk/>
            <pc:sldMk cId="2796991040" sldId="10494"/>
            <ac:spMk id="4" creationId="{F7C69139-D35B-4C65-84D6-19E45E5EA65E}"/>
          </ac:spMkLst>
        </pc:spChg>
        <pc:picChg chg="mod">
          <ac:chgData name="Guilherme Maia" userId="fc649a62-ead7-4fa2-a922-e831243cf1e5" providerId="ADAL" clId="{BB7FA804-FC31-489E-B3EA-47A6F64E40B6}" dt="2019-10-28T13:04:11.807" v="89" actId="2711"/>
          <ac:picMkLst>
            <pc:docMk/>
            <pc:sldMk cId="2796991040" sldId="10494"/>
            <ac:picMk id="3" creationId="{EF7D5657-3BAC-4C19-9D5E-CB2C7B6B27DA}"/>
          </ac:picMkLst>
        </pc:picChg>
      </pc:sldChg>
      <pc:sldChg chg="addSp delSp modSp add">
        <pc:chgData name="Guilherme Maia" userId="fc649a62-ead7-4fa2-a922-e831243cf1e5" providerId="ADAL" clId="{BB7FA804-FC31-489E-B3EA-47A6F64E40B6}" dt="2019-10-28T23:18:32.633" v="875" actId="1076"/>
        <pc:sldMkLst>
          <pc:docMk/>
          <pc:sldMk cId="3657205614" sldId="10495"/>
        </pc:sldMkLst>
        <pc:spChg chg="del">
          <ac:chgData name="Guilherme Maia" userId="fc649a62-ead7-4fa2-a922-e831243cf1e5" providerId="ADAL" clId="{BB7FA804-FC31-489E-B3EA-47A6F64E40B6}" dt="2019-10-28T23:18:02.945" v="871" actId="478"/>
          <ac:spMkLst>
            <pc:docMk/>
            <pc:sldMk cId="3657205614" sldId="10495"/>
            <ac:spMk id="2" creationId="{00000000-0000-0000-0000-000000000000}"/>
          </ac:spMkLst>
        </pc:spChg>
        <pc:spChg chg="del">
          <ac:chgData name="Guilherme Maia" userId="fc649a62-ead7-4fa2-a922-e831243cf1e5" providerId="ADAL" clId="{BB7FA804-FC31-489E-B3EA-47A6F64E40B6}" dt="2019-10-28T23:18:04.368" v="872" actId="478"/>
          <ac:spMkLst>
            <pc:docMk/>
            <pc:sldMk cId="3657205614" sldId="10495"/>
            <ac:spMk id="5" creationId="{731C4838-8C12-4E75-ACA9-1BA122131B86}"/>
          </ac:spMkLst>
        </pc:spChg>
        <pc:picChg chg="add mod">
          <ac:chgData name="Guilherme Maia" userId="fc649a62-ead7-4fa2-a922-e831243cf1e5" providerId="ADAL" clId="{BB7FA804-FC31-489E-B3EA-47A6F64E40B6}" dt="2019-10-28T23:18:32.633" v="875" actId="1076"/>
          <ac:picMkLst>
            <pc:docMk/>
            <pc:sldMk cId="3657205614" sldId="10495"/>
            <ac:picMk id="6" creationId="{BF40CB71-F8CC-4E86-B6A9-AC0915F52D48}"/>
          </ac:picMkLst>
        </pc:picChg>
      </pc:sldChg>
      <pc:sldChg chg="modSp add ord">
        <pc:chgData name="Guilherme Maia" userId="fc649a62-ead7-4fa2-a922-e831243cf1e5" providerId="ADAL" clId="{BB7FA804-FC31-489E-B3EA-47A6F64E40B6}" dt="2019-10-29T00:38:17.025" v="920" actId="20577"/>
        <pc:sldMkLst>
          <pc:docMk/>
          <pc:sldMk cId="2795239469" sldId="10496"/>
        </pc:sldMkLst>
        <pc:spChg chg="mod">
          <ac:chgData name="Guilherme Maia" userId="fc649a62-ead7-4fa2-a922-e831243cf1e5" providerId="ADAL" clId="{BB7FA804-FC31-489E-B3EA-47A6F64E40B6}" dt="2019-10-29T00:38:17.025" v="920" actId="20577"/>
          <ac:spMkLst>
            <pc:docMk/>
            <pc:sldMk cId="2795239469" sldId="10496"/>
            <ac:spMk id="2" creationId="{00000000-0000-0000-0000-000000000000}"/>
          </ac:spMkLst>
        </pc:spChg>
      </pc:sldChg>
      <pc:sldChg chg="add del">
        <pc:chgData name="Guilherme Maia" userId="fc649a62-ead7-4fa2-a922-e831243cf1e5" providerId="ADAL" clId="{BB7FA804-FC31-489E-B3EA-47A6F64E40B6}" dt="2019-10-29T00:38:05.458" v="897"/>
        <pc:sldMkLst>
          <pc:docMk/>
          <pc:sldMk cId="3380921916" sldId="10496"/>
        </pc:sldMkLst>
      </pc:sldChg>
      <pc:sldChg chg="addSp modSp add modAnim">
        <pc:chgData name="Guilherme Maia" userId="fc649a62-ead7-4fa2-a922-e831243cf1e5" providerId="ADAL" clId="{BB7FA804-FC31-489E-B3EA-47A6F64E40B6}" dt="2019-10-29T02:02:38.520" v="966"/>
        <pc:sldMkLst>
          <pc:docMk/>
          <pc:sldMk cId="779464963" sldId="10497"/>
        </pc:sldMkLst>
        <pc:spChg chg="mod">
          <ac:chgData name="Guilherme Maia" userId="fc649a62-ead7-4fa2-a922-e831243cf1e5" providerId="ADAL" clId="{BB7FA804-FC31-489E-B3EA-47A6F64E40B6}" dt="2019-10-29T02:02:38.520" v="966"/>
          <ac:spMkLst>
            <pc:docMk/>
            <pc:sldMk cId="779464963" sldId="10497"/>
            <ac:spMk id="2" creationId="{00000000-0000-0000-0000-000000000000}"/>
          </ac:spMkLst>
        </pc:spChg>
        <pc:inkChg chg="add">
          <ac:chgData name="Guilherme Maia" userId="fc649a62-ead7-4fa2-a922-e831243cf1e5" providerId="ADAL" clId="{BB7FA804-FC31-489E-B3EA-47A6F64E40B6}" dt="2019-10-29T01:37:16.794" v="965"/>
          <ac:inkMkLst>
            <pc:docMk/>
            <pc:sldMk cId="779464963" sldId="10497"/>
            <ac:inkMk id="4" creationId="{3639CE02-D9AD-45CA-9704-A0436A1210ED}"/>
          </ac:inkMkLst>
        </pc:inkChg>
      </pc:sldChg>
      <pc:sldMasterChg chg="modTransition modSldLayout">
        <pc:chgData name="Guilherme Maia" userId="fc649a62-ead7-4fa2-a922-e831243cf1e5" providerId="ADAL" clId="{BB7FA804-FC31-489E-B3EA-47A6F64E40B6}" dt="2019-10-28T13:02:45.395" v="0"/>
        <pc:sldMasterMkLst>
          <pc:docMk/>
          <pc:sldMasterMk cId="2264913177" sldId="2147484019"/>
        </pc:sldMasterMkLst>
        <pc:sldLayoutChg chg="modTransition">
          <pc:chgData name="Guilherme Maia" userId="fc649a62-ead7-4fa2-a922-e831243cf1e5" providerId="ADAL" clId="{BB7FA804-FC31-489E-B3EA-47A6F64E40B6}" dt="2019-10-28T13:02:45.395" v="0"/>
          <pc:sldLayoutMkLst>
            <pc:docMk/>
            <pc:sldMasterMk cId="2264913177" sldId="2147484019"/>
            <pc:sldLayoutMk cId="2317874120" sldId="2147484021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5.395" v="0"/>
          <pc:sldLayoutMkLst>
            <pc:docMk/>
            <pc:sldMasterMk cId="2264913177" sldId="2147484019"/>
            <pc:sldLayoutMk cId="343511525" sldId="2147484023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5.395" v="0"/>
          <pc:sldLayoutMkLst>
            <pc:docMk/>
            <pc:sldMasterMk cId="2264913177" sldId="2147484019"/>
            <pc:sldLayoutMk cId="3038070904" sldId="2147484024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5.395" v="0"/>
          <pc:sldLayoutMkLst>
            <pc:docMk/>
            <pc:sldMasterMk cId="2264913177" sldId="2147484019"/>
            <pc:sldLayoutMk cId="428850484" sldId="2147484025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5.395" v="0"/>
          <pc:sldLayoutMkLst>
            <pc:docMk/>
            <pc:sldMasterMk cId="2264913177" sldId="2147484019"/>
            <pc:sldLayoutMk cId="2585260276" sldId="2147484026"/>
          </pc:sldLayoutMkLst>
        </pc:sldLayoutChg>
      </pc:sldMasterChg>
      <pc:sldMasterChg chg="modTransition modSldLayout">
        <pc:chgData name="Guilherme Maia" userId="fc649a62-ead7-4fa2-a922-e831243cf1e5" providerId="ADAL" clId="{BB7FA804-FC31-489E-B3EA-47A6F64E40B6}" dt="2019-10-28T13:02:46.379" v="1"/>
        <pc:sldMasterMkLst>
          <pc:docMk/>
          <pc:sldMasterMk cId="2034939839" sldId="2147484040"/>
        </pc:sldMasterMkLst>
        <pc:sldLayoutChg chg="modTransition">
          <pc:chgData name="Guilherme Maia" userId="fc649a62-ead7-4fa2-a922-e831243cf1e5" providerId="ADAL" clId="{BB7FA804-FC31-489E-B3EA-47A6F64E40B6}" dt="2019-10-28T13:02:46.379" v="1"/>
          <pc:sldLayoutMkLst>
            <pc:docMk/>
            <pc:sldMasterMk cId="2034939839" sldId="2147484040"/>
            <pc:sldLayoutMk cId="1622644019" sldId="2147484042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6.379" v="1"/>
          <pc:sldLayoutMkLst>
            <pc:docMk/>
            <pc:sldMasterMk cId="2034939839" sldId="2147484040"/>
            <pc:sldLayoutMk cId="3990598911" sldId="2147484044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6.379" v="1"/>
          <pc:sldLayoutMkLst>
            <pc:docMk/>
            <pc:sldMasterMk cId="2034939839" sldId="2147484040"/>
            <pc:sldLayoutMk cId="2111399782" sldId="2147484045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6.379" v="1"/>
          <pc:sldLayoutMkLst>
            <pc:docMk/>
            <pc:sldMasterMk cId="2034939839" sldId="2147484040"/>
            <pc:sldLayoutMk cId="820167799" sldId="2147484046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6.379" v="1"/>
          <pc:sldLayoutMkLst>
            <pc:docMk/>
            <pc:sldMasterMk cId="2034939839" sldId="2147484040"/>
            <pc:sldLayoutMk cId="2451446535" sldId="2147484047"/>
          </pc:sldLayoutMkLst>
        </pc:sldLayoutChg>
      </pc:sldMasterChg>
      <pc:sldMasterChg chg="modTransition modSldLayout">
        <pc:chgData name="Guilherme Maia" userId="fc649a62-ead7-4fa2-a922-e831243cf1e5" providerId="ADAL" clId="{BB7FA804-FC31-489E-B3EA-47A6F64E40B6}" dt="2019-10-28T13:02:47.382" v="2"/>
        <pc:sldMasterMkLst>
          <pc:docMk/>
          <pc:sldMasterMk cId="3777417108" sldId="2147484061"/>
        </pc:sldMasterMkLst>
        <pc:sldLayoutChg chg="modTransition">
          <pc:chgData name="Guilherme Maia" userId="fc649a62-ead7-4fa2-a922-e831243cf1e5" providerId="ADAL" clId="{BB7FA804-FC31-489E-B3EA-47A6F64E40B6}" dt="2019-10-28T13:02:47.382" v="2"/>
          <pc:sldLayoutMkLst>
            <pc:docMk/>
            <pc:sldMasterMk cId="3777417108" sldId="2147484061"/>
            <pc:sldLayoutMk cId="807037378" sldId="2147484063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7.382" v="2"/>
          <pc:sldLayoutMkLst>
            <pc:docMk/>
            <pc:sldMasterMk cId="3777417108" sldId="2147484061"/>
            <pc:sldLayoutMk cId="184281593" sldId="2147484065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7.382" v="2"/>
          <pc:sldLayoutMkLst>
            <pc:docMk/>
            <pc:sldMasterMk cId="3777417108" sldId="2147484061"/>
            <pc:sldLayoutMk cId="837831239" sldId="2147484066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7.382" v="2"/>
          <pc:sldLayoutMkLst>
            <pc:docMk/>
            <pc:sldMasterMk cId="3777417108" sldId="2147484061"/>
            <pc:sldLayoutMk cId="434281962" sldId="2147484067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7.382" v="2"/>
          <pc:sldLayoutMkLst>
            <pc:docMk/>
            <pc:sldMasterMk cId="3777417108" sldId="2147484061"/>
            <pc:sldLayoutMk cId="132273067" sldId="2147484068"/>
          </pc:sldLayoutMkLst>
        </pc:sldLayoutChg>
      </pc:sldMasterChg>
      <pc:sldMasterChg chg="modTransition modSldLayout">
        <pc:chgData name="Guilherme Maia" userId="fc649a62-ead7-4fa2-a922-e831243cf1e5" providerId="ADAL" clId="{BB7FA804-FC31-489E-B3EA-47A6F64E40B6}" dt="2019-10-28T13:02:48.172" v="3"/>
        <pc:sldMasterMkLst>
          <pc:docMk/>
          <pc:sldMasterMk cId="4174063087" sldId="2147484082"/>
        </pc:sldMasterMkLst>
        <pc:sldLayoutChg chg="modTransition">
          <pc:chgData name="Guilherme Maia" userId="fc649a62-ead7-4fa2-a922-e831243cf1e5" providerId="ADAL" clId="{BB7FA804-FC31-489E-B3EA-47A6F64E40B6}" dt="2019-10-28T13:02:48.172" v="3"/>
          <pc:sldLayoutMkLst>
            <pc:docMk/>
            <pc:sldMasterMk cId="4174063087" sldId="2147484082"/>
            <pc:sldLayoutMk cId="3349542339" sldId="2147484084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8.172" v="3"/>
          <pc:sldLayoutMkLst>
            <pc:docMk/>
            <pc:sldMasterMk cId="4174063087" sldId="2147484082"/>
            <pc:sldLayoutMk cId="3244646124" sldId="2147484086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8.172" v="3"/>
          <pc:sldLayoutMkLst>
            <pc:docMk/>
            <pc:sldMasterMk cId="4174063087" sldId="2147484082"/>
            <pc:sldLayoutMk cId="2665008132" sldId="2147484087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8.172" v="3"/>
          <pc:sldLayoutMkLst>
            <pc:docMk/>
            <pc:sldMasterMk cId="4174063087" sldId="2147484082"/>
            <pc:sldLayoutMk cId="3591441257" sldId="2147484088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48.172" v="3"/>
          <pc:sldLayoutMkLst>
            <pc:docMk/>
            <pc:sldMasterMk cId="4174063087" sldId="2147484082"/>
            <pc:sldLayoutMk cId="1655556293" sldId="2147484089"/>
          </pc:sldLayoutMkLst>
        </pc:sldLayoutChg>
      </pc:sldMasterChg>
      <pc:sldMasterChg chg="modTransition delSldLayout modSldLayout">
        <pc:chgData name="Guilherme Maia" userId="fc649a62-ead7-4fa2-a922-e831243cf1e5" providerId="ADAL" clId="{BB7FA804-FC31-489E-B3EA-47A6F64E40B6}" dt="2019-10-28T23:17:47.894" v="868" actId="47"/>
        <pc:sldMasterMkLst>
          <pc:docMk/>
          <pc:sldMasterMk cId="1042435122" sldId="2147484103"/>
        </pc:sldMasterMkLst>
        <pc:sldLayoutChg chg="modTransition">
          <pc:chgData name="Guilherme Maia" userId="fc649a62-ead7-4fa2-a922-e831243cf1e5" providerId="ADAL" clId="{BB7FA804-FC31-489E-B3EA-47A6F64E40B6}" dt="2019-10-28T13:02:51.483" v="4"/>
          <pc:sldLayoutMkLst>
            <pc:docMk/>
            <pc:sldMasterMk cId="1042435122" sldId="2147484103"/>
            <pc:sldLayoutMk cId="163886620" sldId="2147484105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51.483" v="4"/>
          <pc:sldLayoutMkLst>
            <pc:docMk/>
            <pc:sldMasterMk cId="1042435122" sldId="2147484103"/>
            <pc:sldLayoutMk cId="806209884" sldId="2147484107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51.483" v="4"/>
          <pc:sldLayoutMkLst>
            <pc:docMk/>
            <pc:sldMasterMk cId="1042435122" sldId="2147484103"/>
            <pc:sldLayoutMk cId="186166948" sldId="2147484108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51.483" v="4"/>
          <pc:sldLayoutMkLst>
            <pc:docMk/>
            <pc:sldMasterMk cId="1042435122" sldId="2147484103"/>
            <pc:sldLayoutMk cId="2129910558" sldId="2147484109"/>
          </pc:sldLayoutMkLst>
        </pc:sldLayoutChg>
        <pc:sldLayoutChg chg="modTransition">
          <pc:chgData name="Guilherme Maia" userId="fc649a62-ead7-4fa2-a922-e831243cf1e5" providerId="ADAL" clId="{BB7FA804-FC31-489E-B3EA-47A6F64E40B6}" dt="2019-10-28T13:02:51.483" v="4"/>
          <pc:sldLayoutMkLst>
            <pc:docMk/>
            <pc:sldMasterMk cId="1042435122" sldId="2147484103"/>
            <pc:sldLayoutMk cId="620683762" sldId="2147484110"/>
          </pc:sldLayoutMkLst>
        </pc:sldLayoutChg>
        <pc:sldLayoutChg chg="del">
          <pc:chgData name="Guilherme Maia" userId="fc649a62-ead7-4fa2-a922-e831243cf1e5" providerId="ADAL" clId="{BB7FA804-FC31-489E-B3EA-47A6F64E40B6}" dt="2019-10-28T22:32:45.867" v="103" actId="47"/>
          <pc:sldLayoutMkLst>
            <pc:docMk/>
            <pc:sldMasterMk cId="1042435122" sldId="2147484103"/>
            <pc:sldLayoutMk cId="878970112" sldId="2147484121"/>
          </pc:sldLayoutMkLst>
        </pc:sldLayoutChg>
        <pc:sldLayoutChg chg="del">
          <pc:chgData name="Guilherme Maia" userId="fc649a62-ead7-4fa2-a922-e831243cf1e5" providerId="ADAL" clId="{BB7FA804-FC31-489E-B3EA-47A6F64E40B6}" dt="2019-10-28T23:17:47.193" v="867" actId="47"/>
          <pc:sldLayoutMkLst>
            <pc:docMk/>
            <pc:sldMasterMk cId="1042435122" sldId="2147484103"/>
            <pc:sldLayoutMk cId="1523840963" sldId="2147484122"/>
          </pc:sldLayoutMkLst>
        </pc:sldLayoutChg>
        <pc:sldLayoutChg chg="del">
          <pc:chgData name="Guilherme Maia" userId="fc649a62-ead7-4fa2-a922-e831243cf1e5" providerId="ADAL" clId="{BB7FA804-FC31-489E-B3EA-47A6F64E40B6}" dt="2019-10-28T23:17:47.894" v="868" actId="47"/>
          <pc:sldLayoutMkLst>
            <pc:docMk/>
            <pc:sldMasterMk cId="1042435122" sldId="2147484103"/>
            <pc:sldLayoutMk cId="1683590606" sldId="214748412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B823F-988C-41EA-A851-B2966A5284C6}" type="datetimeFigureOut">
              <a:rPr lang="pt-BR" smtClean="0"/>
              <a:t>13/06/2021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745986-B12D-41E4-B83D-A507B6F4013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926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More details about Availability Zones in Azure are available at </a:t>
            </a:r>
            <a:r>
              <a:rPr lang="en-IE" sz="900" u="sng"/>
              <a:t>https://docs.microsoft.com/en-us/azure/availability-zones/az-overview </a:t>
            </a:r>
            <a:endParaRPr lang="en-US" sz="900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6/13/2021 9:1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7902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2968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3848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681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206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536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More details about Availability Zones in Azure are available at </a:t>
            </a:r>
            <a:r>
              <a:rPr lang="en-IE" sz="900" u="sng"/>
              <a:t>https://docs.microsoft.com/en-us/azure/availability-zones/az-overview </a:t>
            </a:r>
            <a:endParaRPr lang="en-US" sz="900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19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45fb64a22f_2_1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9" name="Google Shape;249;g45fb64a22f_2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634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5551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132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304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3046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A list of geography locations is available at : </a:t>
            </a:r>
            <a:r>
              <a:rPr lang="en-IE" u="sng"/>
              <a:t>https://azure.microsoft.com/en-us/global-infrastructure/geographies/ </a:t>
            </a: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6/13/2021 9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995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tif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tif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jp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7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Fuschia Tile"/>
          <p:cNvGrpSpPr/>
          <p:nvPr userDrawn="1"/>
        </p:nvGrpSpPr>
        <p:grpSpPr>
          <a:xfrm>
            <a:off x="1016772" y="3185266"/>
            <a:ext cx="1326225" cy="132588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4" name="Orange Tile"/>
          <p:cNvGrpSpPr/>
          <p:nvPr userDrawn="1"/>
        </p:nvGrpSpPr>
        <p:grpSpPr>
          <a:xfrm>
            <a:off x="2514724" y="3185266"/>
            <a:ext cx="1326225" cy="132588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7" name="Teal Tile"/>
          <p:cNvGrpSpPr/>
          <p:nvPr userDrawn="1"/>
        </p:nvGrpSpPr>
        <p:grpSpPr>
          <a:xfrm>
            <a:off x="1016772" y="4682829"/>
            <a:ext cx="1326225" cy="132588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een Tile"/>
          <p:cNvGrpSpPr/>
          <p:nvPr userDrawn="1"/>
        </p:nvGrpSpPr>
        <p:grpSpPr>
          <a:xfrm>
            <a:off x="2514724" y="4682829"/>
            <a:ext cx="1326225" cy="132588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2541" y="3231974"/>
            <a:ext cx="6720051" cy="1232464"/>
          </a:xfrm>
        </p:spPr>
        <p:txBody>
          <a:bodyPr anchor="ctr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2542" y="5029201"/>
            <a:ext cx="6872491" cy="46325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0" y="6010276"/>
            <a:ext cx="12192001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518327" y="228600"/>
            <a:ext cx="1486285" cy="249299"/>
          </a:xfr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1641792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248" y="1447800"/>
            <a:ext cx="5487830" cy="1742026"/>
          </a:xfrm>
        </p:spPr>
        <p:txBody>
          <a:bodyPr/>
          <a:lstStyle>
            <a:lvl1pPr marL="339911" indent="-339911">
              <a:lnSpc>
                <a:spcPct val="90000"/>
              </a:lnSpc>
              <a:defRPr sz="2800"/>
            </a:lvl1pPr>
            <a:lvl2pPr marL="673208" indent="-325362">
              <a:lnSpc>
                <a:spcPct val="90000"/>
              </a:lnSpc>
              <a:defRPr sz="2400"/>
            </a:lvl2pPr>
            <a:lvl3pPr marL="953602" indent="-288329">
              <a:lnSpc>
                <a:spcPct val="90000"/>
              </a:lnSpc>
              <a:defRPr sz="2000"/>
            </a:lvl3pPr>
            <a:lvl4pPr marL="1227383" indent="-273780">
              <a:lnSpc>
                <a:spcPct val="90000"/>
              </a:lnSpc>
              <a:defRPr sz="1800"/>
            </a:lvl4pPr>
            <a:lvl5pPr marL="1515710" indent="-28039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3335" y="1447800"/>
            <a:ext cx="5487830" cy="1742026"/>
          </a:xfrm>
        </p:spPr>
        <p:txBody>
          <a:bodyPr/>
          <a:lstStyle>
            <a:lvl1pPr marL="347847" indent="-347847">
              <a:lnSpc>
                <a:spcPct val="90000"/>
              </a:lnSpc>
              <a:defRPr sz="2800"/>
            </a:lvl1pPr>
            <a:lvl2pPr marL="673208" indent="-339911">
              <a:lnSpc>
                <a:spcPct val="90000"/>
              </a:lnSpc>
              <a:defRPr sz="2400"/>
            </a:lvl2pPr>
            <a:lvl3pPr marL="961537" indent="-302877">
              <a:lnSpc>
                <a:spcPct val="90000"/>
              </a:lnSpc>
              <a:defRPr sz="2000"/>
            </a:lvl3pPr>
            <a:lvl4pPr marL="1227383" indent="-265845">
              <a:lnSpc>
                <a:spcPct val="90000"/>
              </a:lnSpc>
              <a:defRPr sz="1800"/>
            </a:lvl4pPr>
            <a:lvl5pPr marL="1515710" indent="-273780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740039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38851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88979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18160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1518"/>
            <a:ext cx="3706889" cy="3359681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93786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923"/>
            <a:ext cx="5934949" cy="1829338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9261"/>
            <a:ext cx="5934949" cy="337613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6727794"/>
      </p:ext>
    </p:extLst>
  </p:cSld>
  <p:clrMapOvr>
    <a:masterClrMapping/>
  </p:clrMapOvr>
  <p:hf sldNum="0"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53762" cy="682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9847309"/>
      </p:ext>
    </p:extLst>
  </p:cSld>
  <p:clrMapOvr>
    <a:masterClrMapping/>
  </p:clrMapOvr>
  <p:hf sldNum="0"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6659069"/>
      </p:ext>
    </p:extLst>
  </p:cSld>
  <p:clrMapOvr>
    <a:masterClrMapping/>
  </p:clrMapOvr>
  <p:hf sldNum="0"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1" name="TextBox 10"/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33925374"/>
      </p:ext>
    </p:extLst>
  </p:cSld>
  <p:clrMapOvr>
    <a:masterClrMapping/>
  </p:clrMapOvr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8951669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4588320"/>
      </p:ext>
    </p:extLst>
  </p:cSld>
  <p:clrMapOvr>
    <a:masterClrMapping/>
  </p:clrMapOvr>
  <p:hf sldNum="0"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480368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480367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480365"/>
            <a:ext cx="3300984" cy="131083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233704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48" y="1411521"/>
            <a:ext cx="5487830" cy="346280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0" indent="0">
              <a:buNone/>
              <a:defRPr sz="1600" b="1"/>
            </a:lvl6pPr>
            <a:lvl7pPr marL="2742563" indent="0">
              <a:buNone/>
              <a:defRPr sz="1600" b="1"/>
            </a:lvl7pPr>
            <a:lvl8pPr marL="3199657" indent="0">
              <a:buNone/>
              <a:defRPr sz="1600" b="1"/>
            </a:lvl8pPr>
            <a:lvl9pPr marL="365675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133600"/>
            <a:ext cx="5486399" cy="1537344"/>
          </a:xfrm>
        </p:spPr>
        <p:txBody>
          <a:bodyPr/>
          <a:lstStyle>
            <a:lvl1pPr marL="281716" indent="-281716">
              <a:defRPr sz="2300"/>
            </a:lvl1pPr>
            <a:lvl2pPr marL="562110" indent="-265845">
              <a:defRPr sz="2000"/>
            </a:lvl2pPr>
            <a:lvl3pPr marL="813406" indent="-243360">
              <a:defRPr sz="1800"/>
            </a:lvl3pPr>
            <a:lvl4pPr marL="1050152" indent="-228812">
              <a:defRPr sz="1700"/>
            </a:lvl4pPr>
            <a:lvl5pPr marL="1278964" indent="-206328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3335" y="1411521"/>
            <a:ext cx="5487830" cy="346280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0" indent="0">
              <a:buNone/>
              <a:defRPr sz="1600" b="1"/>
            </a:lvl6pPr>
            <a:lvl7pPr marL="2742563" indent="0">
              <a:buNone/>
              <a:defRPr sz="1600" b="1"/>
            </a:lvl7pPr>
            <a:lvl8pPr marL="3199657" indent="0">
              <a:buNone/>
              <a:defRPr sz="1600" b="1"/>
            </a:lvl8pPr>
            <a:lvl9pPr marL="365675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3335" y="2133601"/>
            <a:ext cx="5487830" cy="1578619"/>
          </a:xfrm>
        </p:spPr>
        <p:txBody>
          <a:bodyPr/>
          <a:lstStyle>
            <a:lvl1pPr marL="296264" indent="-296264">
              <a:defRPr sz="2300"/>
            </a:lvl1pPr>
            <a:lvl2pPr marL="570045" indent="-273780">
              <a:defRPr sz="2000"/>
            </a:lvl2pPr>
            <a:lvl3pPr marL="821341" indent="-244683">
              <a:defRPr sz="1800"/>
            </a:lvl3pPr>
            <a:lvl4pPr marL="1050152" indent="-236747">
              <a:defRPr sz="1700"/>
            </a:lvl4pPr>
            <a:lvl5pPr marL="1278964" indent="-220876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590203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43853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492338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817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07174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88630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11181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14699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23119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248" y="1447800"/>
            <a:ext cx="11151917" cy="2000730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10478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248" y="1447800"/>
            <a:ext cx="11151917" cy="2000730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6238876"/>
            <a:ext cx="12192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850430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Fuschia Tile"/>
          <p:cNvGrpSpPr/>
          <p:nvPr userDrawn="1"/>
        </p:nvGrpSpPr>
        <p:grpSpPr>
          <a:xfrm>
            <a:off x="1016772" y="3185266"/>
            <a:ext cx="1326225" cy="132588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4" name="Orange Tile"/>
          <p:cNvGrpSpPr/>
          <p:nvPr userDrawn="1"/>
        </p:nvGrpSpPr>
        <p:grpSpPr>
          <a:xfrm>
            <a:off x="2514724" y="3185266"/>
            <a:ext cx="1326225" cy="132588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7" name="Teal Tile"/>
          <p:cNvGrpSpPr/>
          <p:nvPr userDrawn="1"/>
        </p:nvGrpSpPr>
        <p:grpSpPr>
          <a:xfrm>
            <a:off x="1016772" y="4682829"/>
            <a:ext cx="1326225" cy="132588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een Tile"/>
          <p:cNvGrpSpPr/>
          <p:nvPr userDrawn="1"/>
        </p:nvGrpSpPr>
        <p:grpSpPr>
          <a:xfrm>
            <a:off x="2514724" y="4682829"/>
            <a:ext cx="1326225" cy="132588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2541" y="3231974"/>
            <a:ext cx="6720051" cy="1232464"/>
          </a:xfrm>
        </p:spPr>
        <p:txBody>
          <a:bodyPr anchor="ctr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2542" y="5029201"/>
            <a:ext cx="6872491" cy="46325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0" y="6010276"/>
            <a:ext cx="12192001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1852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8903" y="0"/>
            <a:ext cx="12192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2601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267201" y="1828800"/>
            <a:ext cx="7643223" cy="627864"/>
          </a:xfrm>
          <a:solidFill>
            <a:srgbClr val="3399FF"/>
          </a:solidFill>
          <a:ln algn="ctr"/>
        </p:spPr>
        <p:txBody>
          <a:bodyPr wrap="square" tIns="0" rIns="0" bIns="0">
            <a:spAutoFit/>
          </a:bodyPr>
          <a:lstStyle>
            <a:lvl1pPr algn="l">
              <a:spcBef>
                <a:spcPct val="60000"/>
              </a:spcBef>
              <a:buClr>
                <a:schemeClr val="hlink"/>
              </a:buClr>
              <a:buSzPct val="90000"/>
              <a:buFontTx/>
              <a:buNone/>
              <a:defRPr sz="480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ourse #</a:t>
            </a:r>
          </a:p>
        </p:txBody>
      </p:sp>
      <p:sp>
        <p:nvSpPr>
          <p:cNvPr id="726020" name="Rectangle 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267200" y="2895600"/>
            <a:ext cx="7701280" cy="1103872"/>
          </a:xfrm>
        </p:spPr>
        <p:txBody>
          <a:bodyPr lIns="91440" tIns="45720" rIns="91440" bIns="45720"/>
          <a:lstStyle>
            <a:lvl1pPr marL="0" indent="0" algn="l">
              <a:lnSpc>
                <a:spcPct val="95000"/>
              </a:lnSpc>
              <a:spcBef>
                <a:spcPct val="60000"/>
              </a:spcBef>
              <a:buFontTx/>
              <a:buNone/>
              <a:defRPr sz="28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Course title</a:t>
            </a:r>
          </a:p>
        </p:txBody>
      </p:sp>
    </p:spTree>
    <p:extLst>
      <p:ext uri="{BB962C8B-B14F-4D97-AF65-F5344CB8AC3E}">
        <p14:creationId xmlns:p14="http://schemas.microsoft.com/office/powerpoint/2010/main" val="1272257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" name="Demo Tile"/>
          <p:cNvGrpSpPr/>
          <p:nvPr userDrawn="1"/>
        </p:nvGrpSpPr>
        <p:grpSpPr>
          <a:xfrm>
            <a:off x="1017877" y="3187885"/>
            <a:ext cx="2827989" cy="2827252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56152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3002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7780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718" y="992188"/>
            <a:ext cx="5065183" cy="4386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80101" y="992188"/>
            <a:ext cx="5067300" cy="4386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390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8077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0070C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0070C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466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2635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4798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148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1406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4550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88351" y="0"/>
            <a:ext cx="2590800" cy="53784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1718" y="0"/>
            <a:ext cx="7573433" cy="5378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076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Green Tile"/>
          <p:cNvGrpSpPr/>
          <p:nvPr userDrawn="1"/>
        </p:nvGrpSpPr>
        <p:grpSpPr>
          <a:xfrm>
            <a:off x="1016121" y="3187137"/>
            <a:ext cx="2827989" cy="2827252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05660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60695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24893-DBDA-4BFA-9CE1-4BFE7CD0F8CF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606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35843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F84E2-2D7A-43CF-AC90-352A289A783A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1439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952B5-7A2F-4CC8-B7CE-9234E21C2837}" type="datetime1">
              <a:rPr lang="en-US" smtClean="0"/>
              <a:t>6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713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07A-9201-4B4B-BAF2-015AFA30F520}" type="datetime1">
              <a:rPr lang="en-US" smtClean="0"/>
              <a:t>6/1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306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1">
              <a:rPr lang="en-US" smtClean="0"/>
              <a:t>6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9058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1">
              <a:rPr lang="en-US" smtClean="0"/>
              <a:t>6/1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8335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E2C9B-5FA2-460D-9BE7-B0812FC2A6FF}" type="datetime1">
              <a:rPr lang="en-US" smtClean="0"/>
              <a:t>6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520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74940-A916-4C8B-9648-02A2D3898F9E}" type="datetime1">
              <a:rPr lang="en-US" smtClean="0"/>
              <a:t>6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980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Blue Tile"/>
          <p:cNvGrpSpPr/>
          <p:nvPr userDrawn="1"/>
        </p:nvGrpSpPr>
        <p:grpSpPr>
          <a:xfrm>
            <a:off x="1016122" y="3189726"/>
            <a:ext cx="2827989" cy="2827252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633134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E5243-F52A-4D37-9694-EB26C6C31910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00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7B6E1-634A-48DC-9E8B-D894023267EF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2276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90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Microsoft Azure 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2" y="4847661"/>
            <a:ext cx="9602819" cy="727635"/>
          </a:xfrm>
        </p:spPr>
        <p:txBody>
          <a:bodyPr/>
          <a:lstStyle>
            <a:lvl1pPr>
              <a:defRPr sz="1764"/>
            </a:lvl1pPr>
            <a:lvl2pPr>
              <a:defRPr sz="1764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</a:p>
          <a:p>
            <a:pPr lvl="1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2" y="472517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13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842" y="4847660"/>
            <a:ext cx="9609045" cy="727635"/>
          </a:xfrm>
        </p:spPr>
        <p:txBody>
          <a:bodyPr/>
          <a:lstStyle>
            <a:lvl1pPr>
              <a:defRPr sz="1764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2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84" y="473796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79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1" y="-1"/>
            <a:ext cx="12192000" cy="6858001"/>
            <a:chOff x="0" y="-1"/>
            <a:chExt cx="12436475" cy="699452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6" y="2128263"/>
            <a:ext cx="7477989" cy="35862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0" tIns="143425" rIns="179280" bIns="1434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09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253" y="4495236"/>
            <a:ext cx="6507352" cy="727635"/>
          </a:xfrm>
        </p:spPr>
        <p:txBody>
          <a:bodyPr/>
          <a:lstStyle>
            <a:lvl1pPr>
              <a:defRPr sz="1764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5802" y="2677571"/>
            <a:ext cx="6564802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365 title or event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2" y="472517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521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1" y="-1"/>
            <a:ext cx="12192000" cy="6858001"/>
            <a:chOff x="0" y="-1"/>
            <a:chExt cx="12436475" cy="699452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8682" y="2161468"/>
            <a:ext cx="7477989" cy="358620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0" tIns="143425" rIns="179280" bIns="1434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09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253" y="4495237"/>
            <a:ext cx="6507352" cy="727635"/>
          </a:xfrm>
        </p:spPr>
        <p:txBody>
          <a:bodyPr/>
          <a:lstStyle>
            <a:lvl1pPr>
              <a:defRPr sz="1764">
                <a:solidFill>
                  <a:schemeClr val="tx1"/>
                </a:solidFill>
              </a:defRPr>
            </a:lvl1pPr>
            <a:lvl2pPr>
              <a:defRPr sz="1764">
                <a:solidFill>
                  <a:schemeClr val="tx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5802" y="2677571"/>
            <a:ext cx="6564802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Microsoft 365 title or event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2" y="472517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531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1168944"/>
            <a:ext cx="3618381" cy="899665"/>
          </a:xfrm>
        </p:spPr>
        <p:txBody>
          <a:bodyPr lIns="0" tIns="0" rIns="0" bIns="0"/>
          <a:lstStyle>
            <a:lvl1pPr>
              <a:defRPr sz="1764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4"/>
            <a:ext cx="3837818" cy="3786998"/>
          </a:xfrm>
        </p:spPr>
        <p:txBody>
          <a:bodyPr wrap="square" lIns="0" tIns="0" rIns="0" bIns="0">
            <a:noAutofit/>
          </a:bodyPr>
          <a:lstStyle>
            <a:lvl1pPr marL="0" indent="0" defTabSz="507325">
              <a:spcAft>
                <a:spcPts val="490"/>
              </a:spcAft>
              <a:buNone/>
              <a:defRPr sz="1764" spc="0" baseline="0">
                <a:solidFill>
                  <a:schemeClr val="tx2"/>
                </a:solidFill>
              </a:defRPr>
            </a:lvl1pPr>
            <a:lvl2pPr marL="224094" indent="0">
              <a:buNone/>
              <a:defRPr sz="1764"/>
            </a:lvl2pPr>
            <a:lvl3pPr marL="448189" indent="0">
              <a:buNone/>
              <a:defRPr sz="1764"/>
            </a:lvl3pPr>
            <a:lvl4pPr marL="672283" indent="0">
              <a:buNone/>
              <a:defRPr sz="1764"/>
            </a:lvl4pPr>
            <a:lvl5pPr marL="896378" indent="0">
              <a:buNone/>
              <a:defRPr sz="1764"/>
            </a:lvl5pPr>
          </a:lstStyle>
          <a:p>
            <a:pPr lvl="0"/>
            <a:r>
              <a:rPr lang="en-US"/>
              <a:t>##	Section Tit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5D44EBAA-1080-2641-A084-EB6038C6B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2996022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6" y="1922803"/>
            <a:ext cx="11306469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/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Large: subhead Segoe UI </a:t>
            </a:r>
            <a:r>
              <a:rPr lang="en-US" err="1"/>
              <a:t>Semibold</a:t>
            </a:r>
            <a:r>
              <a:rPr lang="en-US"/>
              <a:t> 20/24</a:t>
            </a:r>
          </a:p>
          <a:p>
            <a:pPr lvl="1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3151390"/>
            <a:ext cx="11306469" cy="443839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4"/>
              </a:lnSpc>
              <a:spcBef>
                <a:spcPts val="0"/>
              </a:spcBef>
              <a:buNone/>
              <a:defRPr sz="1372" spc="0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Medium: 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6" y="4352947"/>
            <a:ext cx="11306469" cy="331946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1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1" spc="0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/>
              <a:t>Small caption: Segoe UI Bold 10/12</a:t>
            </a:r>
          </a:p>
          <a:p>
            <a:pPr lvl="1"/>
            <a:r>
              <a:rPr lang="en-US"/>
              <a:t>Small caption Segoe Regular 10/12</a:t>
            </a:r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792CEBAD-C5CC-0544-9FE5-B0B00445B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349824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6" y="1922588"/>
            <a:ext cx="9384447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4" indent="0">
              <a:buNone/>
              <a:defRPr/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3151390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18" marR="0" indent="-280118" algn="l" defTabSz="914358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ra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sunt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8" y="3151390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18" marR="0" indent="-280118" algn="l" defTabSz="914358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ra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sunt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90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chemeClr val="tx2"/>
                </a:solidFill>
                <a:latin typeface="+mj-lt"/>
              </a:defRPr>
            </a:lvl1pPr>
            <a:lvl2pPr marL="280118" marR="0" indent="-280118" algn="l" defTabSz="914358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ra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sunt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marL="280118" marR="0" lvl="1" indent="-280118" algn="l" defTabSz="914358" rtl="0" eaLnBrk="1" fontAlgn="auto" latinLnBrk="0" hangingPunct="1">
              <a:lnSpc>
                <a:spcPts val="1764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5E8D43B7-8257-D84A-AC54-1B6FD2631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27312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6" y="2363624"/>
            <a:ext cx="3618381" cy="2483629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ra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sunt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2" y="2363624"/>
            <a:ext cx="3618381" cy="2483629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ra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sunt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38E79E6-9873-FD4B-AE77-547F8559A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27882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Purple Tile"/>
          <p:cNvGrpSpPr/>
          <p:nvPr userDrawn="1"/>
        </p:nvGrpSpPr>
        <p:grpSpPr>
          <a:xfrm>
            <a:off x="1017877" y="3187137"/>
            <a:ext cx="2827989" cy="2827252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866962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64958" y="1599725"/>
            <a:ext cx="3609417" cy="3099393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4927922"/>
            <a:ext cx="3618381" cy="1201226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201226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00039" y="1599725"/>
            <a:ext cx="3609417" cy="3099393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44083" y="1599722"/>
            <a:ext cx="3609417" cy="3099394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2" y="4927922"/>
            <a:ext cx="3618381" cy="1201226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Footer Placeholder 14">
            <a:extLst>
              <a:ext uri="{FF2B5EF4-FFF2-40B4-BE49-F238E27FC236}">
                <a16:creationId xmlns:a16="http://schemas.microsoft.com/office/drawing/2014/main" id="{CA59C6B7-B917-1840-9DE3-C34667871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3219438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6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3167817"/>
            <a:ext cx="1693247" cy="2803460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9" y="3167817"/>
            <a:ext cx="1693247" cy="2803460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3" y="3167817"/>
            <a:ext cx="1693247" cy="2803460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7"/>
            <a:ext cx="1693247" cy="2803460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9" y="3167817"/>
            <a:ext cx="1693247" cy="2803460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7"/>
            <a:ext cx="1693247" cy="2803460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9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3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9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6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2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3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4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1" y="2025027"/>
            <a:ext cx="256787" cy="258381"/>
          </a:xfrm>
        </p:spPr>
        <p:txBody>
          <a:bodyPr tIns="0" bIns="0"/>
          <a:lstStyle>
            <a:lvl1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094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1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23" name="Footer Placeholder 14">
            <a:extLst>
              <a:ext uri="{FF2B5EF4-FFF2-40B4-BE49-F238E27FC236}">
                <a16:creationId xmlns:a16="http://schemas.microsoft.com/office/drawing/2014/main" id="{CDC19876-13E5-1847-AE6E-14EA37A9C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937022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5231FD8-80B3-7243-A07F-7383027E4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4484469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5" y="941693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97675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941693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37117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842" y="1"/>
            <a:ext cx="5962158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554195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3"/>
            <a:ext cx="4822952" cy="2649571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1177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6" y="1922588"/>
            <a:ext cx="4822951" cy="2877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4" indent="0">
              <a:buNone/>
              <a:defRPr/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4619461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55996" y="2158886"/>
            <a:ext cx="3618381" cy="254023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03152" y="2158886"/>
            <a:ext cx="3607487" cy="2540231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139413" y="2158886"/>
            <a:ext cx="3623050" cy="2540231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4927922"/>
            <a:ext cx="3618381" cy="1201226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40" y="4927922"/>
            <a:ext cx="3618381" cy="1201226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201226"/>
          </a:xfrm>
        </p:spPr>
        <p:txBody>
          <a:bodyPr lIns="0" tIns="0" rIns="0" bIns="0"/>
          <a:lstStyle>
            <a:lvl1pPr marL="0" marR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chemeClr val="tx2"/>
                </a:solidFill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4" name="Footer Placeholder 14">
            <a:extLst>
              <a:ext uri="{FF2B5EF4-FFF2-40B4-BE49-F238E27FC236}">
                <a16:creationId xmlns:a16="http://schemas.microsoft.com/office/drawing/2014/main" id="{3B5B741A-7576-5149-903B-7C99768D88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5123282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5" y="418151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6" y="1922803"/>
            <a:ext cx="4758211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4" indent="0">
              <a:buNone/>
              <a:defRPr/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pt-BR"/>
              <a:t>Large 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2707599"/>
            <a:ext cx="4758210" cy="2521331"/>
          </a:xfrm>
        </p:spPr>
        <p:txBody>
          <a:bodyPr lIns="0" tIns="0" rIns="0" bIns="0"/>
          <a:lstStyle>
            <a:lvl1pPr marL="280118" indent="-280118">
              <a:lnSpc>
                <a:spcPts val="1764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4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11"/>
            <a:ext cx="5834042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91B60D61-6FC1-0E45-8A2E-51410A6C63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807866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5" y="418151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11"/>
            <a:ext cx="5834042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7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7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4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58" rtl="0" eaLnBrk="1" fontAlgn="auto" latinLnBrk="0" hangingPunct="1">
              <a:lnSpc>
                <a:spcPts val="176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marL="0" marR="0" lvl="0" indent="0" algn="l" defTabSz="914358" rtl="0" eaLnBrk="1" fontAlgn="auto" latinLnBrk="0" hangingPunct="1">
              <a:lnSpc>
                <a:spcPts val="1764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10" name="Footer Placeholder 14">
            <a:extLst>
              <a:ext uri="{FF2B5EF4-FFF2-40B4-BE49-F238E27FC236}">
                <a16:creationId xmlns:a16="http://schemas.microsoft.com/office/drawing/2014/main" id="{E48FC59D-3F2F-9746-A309-EDC9968BC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519920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1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88256"/>
            <a:ext cx="767875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C171A6F7-E2D5-4545-B545-35D9AA4D1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558381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ement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Orange Tile"/>
          <p:cNvGrpSpPr/>
          <p:nvPr userDrawn="1"/>
        </p:nvGrpSpPr>
        <p:grpSpPr>
          <a:xfrm>
            <a:off x="1016122" y="3187484"/>
            <a:ext cx="2827989" cy="2827252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346410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7" y="1950780"/>
            <a:ext cx="3618377" cy="3534844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3" y="5857162"/>
            <a:ext cx="3618381" cy="301770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1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58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1">
                <a:solidFill>
                  <a:schemeClr val="tx1"/>
                </a:solidFill>
              </a:defRPr>
            </a:lvl2pPr>
            <a:lvl3pPr marL="448189" indent="0">
              <a:buNone/>
              <a:defRPr/>
            </a:lvl3pPr>
            <a:lvl4pPr marL="672283" indent="0">
              <a:buNone/>
              <a:defRPr/>
            </a:lvl4pPr>
            <a:lvl5pPr marL="896378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3" y="5857162"/>
            <a:ext cx="3607487" cy="297774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1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3" y="1950780"/>
            <a:ext cx="3607487" cy="3534844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4" y="1950780"/>
            <a:ext cx="3623051" cy="3534844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3143"/>
          </a:xfrm>
        </p:spPr>
        <p:txBody>
          <a:bodyPr tIns="0"/>
          <a:lstStyle>
            <a:lvl1pPr>
              <a:defRPr lang="en-US" sz="981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3143"/>
          </a:xfrm>
        </p:spPr>
        <p:txBody>
          <a:bodyPr tIns="0"/>
          <a:lstStyle>
            <a:lvl1pPr>
              <a:defRPr lang="en-US" sz="981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3143"/>
          </a:xfrm>
        </p:spPr>
        <p:txBody>
          <a:bodyPr tIns="0"/>
          <a:lstStyle>
            <a:lvl1pPr>
              <a:defRPr lang="en-US" sz="981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4" y="5857162"/>
            <a:ext cx="3607487" cy="297774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1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592F5440-0E12-0F44-ACE7-3C2064AE3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348979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28"/>
            <a:ext cx="11306469" cy="403136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6" y="3924853"/>
            <a:ext cx="11306469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8FFE576D-7F23-5D49-98BE-F31E67401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272665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4170" y="6451197"/>
            <a:ext cx="4482124" cy="1055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15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8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71" y="439311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634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2842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FE3E5-3C71-497D-831F-1899ABA8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3E3D89-938E-4081-8E33-825A87761B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996" y="1817561"/>
            <a:ext cx="11306469" cy="157241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67A5A-B653-41DE-AA49-47008E951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898DE-9F49-4968-83A5-31D95566A6CF}" type="datetimeFigureOut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61A758-B7FE-483A-A19D-C381D3449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595AD9-FDE3-4A85-A0D6-786AC1A6A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C1869D-8499-48DB-A158-08A61EE577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056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5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6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CC3F24-BF53-4EF0-8FC2-26C4B3641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684" y="3204862"/>
            <a:ext cx="2102988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617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28019" tIns="64010" rIns="128019" bIns="64010" anchor="b" anchorCtr="0">
            <a:noAutofit/>
          </a:bodyPr>
          <a:lstStyle>
            <a:lvl1pPr algn="r">
              <a:buFont typeface="Arial" pitchFamily="34" charset="0"/>
              <a:buNone/>
              <a:defRPr sz="2941" spc="-4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"/>
            <a:ext cx="12192000" cy="1232898"/>
          </a:xfrm>
        </p:spPr>
        <p:txBody>
          <a:bodyPr lIns="393192" tIns="393192" bIns="91440">
            <a:normAutofit/>
          </a:bodyPr>
          <a:lstStyle>
            <a:lvl1pPr marL="0" indent="0">
              <a:buNone/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9106" y="1233489"/>
            <a:ext cx="11802894" cy="1572418"/>
          </a:xfrm>
        </p:spPr>
        <p:txBody>
          <a:bodyPr/>
          <a:lstStyle>
            <a:lvl1pPr marL="0" indent="0">
              <a:buNone/>
              <a:defRPr/>
            </a:lvl1pPr>
            <a:lvl2pPr marL="457000" indent="0">
              <a:buNone/>
              <a:defRPr/>
            </a:lvl2pPr>
            <a:lvl3pPr marL="914002" indent="0">
              <a:buNone/>
              <a:defRPr/>
            </a:lvl3pPr>
            <a:lvl4pPr marL="1371003" indent="0">
              <a:buNone/>
              <a:defRPr/>
            </a:lvl4pPr>
            <a:lvl5pPr marL="18280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803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762002" y="1524004"/>
            <a:ext cx="10668000" cy="15724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35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7799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6915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4269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" y="57362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350" indent="0">
              <a:buNone/>
              <a:defRPr/>
            </a:lvl2pPr>
            <a:lvl3pPr marL="587799" indent="0">
              <a:buNone/>
              <a:defRPr/>
            </a:lvl3pPr>
            <a:lvl4pPr marL="869150" indent="0">
              <a:buNone/>
              <a:defRPr/>
            </a:lvl4pPr>
            <a:lvl5pPr marL="1104269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82097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57241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82" indent="0">
              <a:buNone/>
              <a:defRPr/>
            </a:lvl2pPr>
            <a:lvl3pPr marL="457163" indent="0">
              <a:buNone/>
              <a:defRPr/>
            </a:lvl3pPr>
            <a:lvl4pPr marL="685746" indent="0">
              <a:buNone/>
              <a:defRPr/>
            </a:lvl4pPr>
            <a:lvl5pPr marL="91432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62728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157241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20993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c.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0" y="3187136"/>
            <a:ext cx="7164666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69" y="1514476"/>
            <a:ext cx="7164666" cy="149961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1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399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7"/>
            <a:ext cx="4011070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1"/>
            <a:ext cx="6612268" cy="461665"/>
          </a:xfrm>
        </p:spPr>
        <p:txBody>
          <a:bodyPr>
            <a:noAutofit/>
          </a:bodyPr>
          <a:lstStyle>
            <a:lvl1pPr marL="0" indent="0" algn="l" defTabSz="914188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5" y="1872947"/>
            <a:ext cx="841375" cy="841594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6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4" y="1742494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6" y="1630805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7"/>
            <a:ext cx="6612268" cy="1523494"/>
          </a:xfrm>
        </p:spPr>
        <p:txBody>
          <a:bodyPr anchor="ctr" anchorCtr="0">
            <a:noAutofit/>
          </a:bodyPr>
          <a:lstStyle>
            <a:lvl1pPr algn="l" defTabSz="9141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1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3" tIns="45711" rIns="91423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20000"/>
                  <a:lumOff val="80000"/>
                  <a:alpha val="99000"/>
                </a:srgb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Teal Tile"/>
          <p:cNvGrpSpPr/>
          <p:nvPr userDrawn="1"/>
        </p:nvGrpSpPr>
        <p:grpSpPr>
          <a:xfrm>
            <a:off x="1016121" y="3187137"/>
            <a:ext cx="2827989" cy="2827252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3481318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F328AE-26F0-42B9-988D-535B1145C9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661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2270E26-89BA-4369-9EF4-1B9EBAA3D00B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964678-FE6C-4226-A11B-8D452DA780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94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26004-6E63-4034-A1B0-34BE8CEF3D76}"/>
              </a:ext>
            </a:extLst>
          </p:cNvPr>
          <p:cNvSpPr/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240D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C1A9B4-AD16-4E53-919C-38204BAF9E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0758" y="800100"/>
            <a:ext cx="502448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50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053233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3487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7354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009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4998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59480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4995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800"/>
            <a:ext cx="11151917" cy="20007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28413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0096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21476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69776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908627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31573B-58F8-43B4-8E3E-6F895442CB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93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11689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81C0FB-0396-463F-9527-BACCE96868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520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387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F059F-BD0F-4211-86F6-E960C3EC18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44025" y="3898483"/>
            <a:ext cx="2265363" cy="237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213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453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248" y="1447800"/>
            <a:ext cx="11151917" cy="200073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685326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6957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65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828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69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989018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59833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75143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3395673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589879"/>
            <a:ext cx="9590550" cy="150705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67740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1732449"/>
            <a:ext cx="5060497" cy="4058750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2892" y="1732449"/>
            <a:ext cx="5064665" cy="405875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3227056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89072" cy="4148769"/>
          </a:xfrm>
          <a:prstGeom prst="rect">
            <a:avLst/>
          </a:prstGeom>
        </p:spPr>
      </p:pic>
      <p:pic>
        <p:nvPicPr>
          <p:cNvPr id="21" name="Picture 20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85" y="1734506"/>
            <a:ext cx="5089072" cy="41487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72" y="1835254"/>
            <a:ext cx="4876344" cy="54488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5872" y="2380137"/>
            <a:ext cx="4876344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4967" y="1835254"/>
            <a:ext cx="4895330" cy="54488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4967" y="2380137"/>
            <a:ext cx="4895330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68963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image" Target="../media/image1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0"/>
            <a:ext cx="11151917" cy="6093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48" y="1447800"/>
            <a:ext cx="11151916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5766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</p:sldLayoutIdLst>
  <p:transition>
    <p:fade/>
  </p:transition>
  <p:txStyles>
    <p:titleStyle>
      <a:lvl1pPr algn="l" defTabSz="914188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charset="0"/>
        </a:defRPr>
      </a:lvl1pPr>
    </p:titleStyle>
    <p:bodyStyle>
      <a:lvl1pPr marL="460286" indent="-460286" algn="l" defTabSz="914188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32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855499" indent="-395212" algn="l" defTabSz="914188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1258646" indent="-403147" algn="l" defTabSz="914188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604655" indent="-346009" algn="l" defTabSz="914188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941140" indent="-336485" algn="l" defTabSz="914188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17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0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4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8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3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7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1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70408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25001" name="Rectangle 9"/>
          <p:cNvSpPr>
            <a:spLocks noChangeArrowheads="1"/>
          </p:cNvSpPr>
          <p:nvPr/>
        </p:nvSpPr>
        <p:spPr bwMode="auto">
          <a:xfrm>
            <a:off x="6351" y="731839"/>
            <a:ext cx="12181416" cy="61118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13834" y="-2"/>
            <a:ext cx="10365317" cy="740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</a:t>
            </a: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718" y="1021215"/>
            <a:ext cx="10825541" cy="514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3942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</p:sldLayoutIdLst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800">
          <a:solidFill>
            <a:schemeClr val="bg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rgbClr val="DC0081"/>
        </a:buClr>
        <a:buFont typeface="Wingdings" pitchFamily="2" charset="2"/>
        <a:defRPr sz="2400">
          <a:solidFill>
            <a:schemeClr val="tx1"/>
          </a:solidFill>
          <a:latin typeface="Verdana" pitchFamily="34" charset="0"/>
        </a:defRPr>
      </a:lvl9pPr>
    </p:titleStyle>
    <p:bodyStyle>
      <a:lvl1pPr marL="174625" indent="-174625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0070C0"/>
        </a:buClr>
        <a:buSzPct val="90000"/>
        <a:buFont typeface="Arial" pitchFamily="34" charset="0"/>
        <a:buChar char="•"/>
        <a:defRPr sz="28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58788" indent="-169863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0070C0"/>
        </a:buClr>
        <a:buSzPct val="80000"/>
        <a:buFont typeface="Arial" pitchFamily="34" charset="0"/>
        <a:buChar char="•"/>
        <a:defRPr sz="24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854075" indent="-173038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0070C0"/>
        </a:buClr>
        <a:buSzPct val="80000"/>
        <a:buFont typeface="Arial" pitchFamily="34" charset="0"/>
        <a:buChar char="•"/>
        <a:defRPr sz="20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254125" indent="-1651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0070C0"/>
        </a:buClr>
        <a:buSzPct val="90000"/>
        <a:buFont typeface="Arial" pitchFamily="34" charset="0"/>
        <a:buChar char="•"/>
        <a:defRPr sz="18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544638" indent="-168275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0070C0"/>
        </a:buClr>
        <a:buSzPct val="90000"/>
        <a:buFont typeface="Arial" pitchFamily="34" charset="0"/>
        <a:buChar char="•"/>
        <a:defRPr sz="18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001838" indent="-16827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rgbClr val="2D4A6D"/>
        </a:buClr>
        <a:buSzPct val="90000"/>
        <a:buChar char="•"/>
        <a:defRPr sz="1600">
          <a:solidFill>
            <a:schemeClr val="tx1"/>
          </a:solidFill>
          <a:latin typeface="+mn-lt"/>
        </a:defRPr>
      </a:lvl6pPr>
      <a:lvl7pPr marL="2459038" indent="-16827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rgbClr val="2D4A6D"/>
        </a:buClr>
        <a:buSzPct val="90000"/>
        <a:buChar char="•"/>
        <a:defRPr sz="1600">
          <a:solidFill>
            <a:schemeClr val="tx1"/>
          </a:solidFill>
          <a:latin typeface="+mn-lt"/>
        </a:defRPr>
      </a:lvl7pPr>
      <a:lvl8pPr marL="2916238" indent="-16827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rgbClr val="2D4A6D"/>
        </a:buClr>
        <a:buSzPct val="90000"/>
        <a:buChar char="•"/>
        <a:defRPr sz="1600">
          <a:solidFill>
            <a:schemeClr val="tx1"/>
          </a:solidFill>
          <a:latin typeface="+mn-lt"/>
        </a:defRPr>
      </a:lvl8pPr>
      <a:lvl9pPr marL="3373438" indent="-16827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rgbClr val="2D4A6D"/>
        </a:buClr>
        <a:buSzPct val="9000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586B75A-687E-405C-8A0B-8D00578BA2C3}" type="datetime1">
              <a:rPr lang="en-US" smtClean="0"/>
              <a:t>6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57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5" y="556382"/>
            <a:ext cx="11306469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5" y="1817560"/>
            <a:ext cx="11306469" cy="232362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/>
              <a:t>H2 Segoe UI </a:t>
            </a:r>
            <a:r>
              <a:rPr lang="en-US" err="1"/>
              <a:t>Semibold</a:t>
            </a:r>
            <a:r>
              <a:rPr lang="en-US"/>
              <a:t> 20/24</a:t>
            </a:r>
          </a:p>
          <a:p>
            <a:pPr lvl="1"/>
            <a:r>
              <a:rPr lang="en-US"/>
              <a:t>B1 Segoe UI Regular 20/24 </a:t>
            </a:r>
          </a:p>
          <a:p>
            <a:pPr lvl="1"/>
            <a:endParaRPr lang="en-US"/>
          </a:p>
          <a:p>
            <a:pPr lvl="2"/>
            <a:r>
              <a:rPr lang="en-US"/>
              <a:t>H3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B2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H4 Segoe UI Bold 10/12</a:t>
            </a:r>
          </a:p>
          <a:p>
            <a:pPr lvl="6"/>
            <a:r>
              <a:rPr lang="en-US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5"/>
            <a:ext cx="11586712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429226" y="2842060"/>
            <a:ext cx="6849372" cy="116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0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  <p:sldLayoutId id="2147484001" r:id="rId26"/>
    <p:sldLayoutId id="2147484002" r:id="rId27"/>
    <p:sldLayoutId id="2147484003" r:id="rId28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14358" rtl="0" eaLnBrk="1" latinLnBrk="0" hangingPunct="1">
        <a:lnSpc>
          <a:spcPct val="90000"/>
        </a:lnSpc>
        <a:spcBef>
          <a:spcPct val="0"/>
        </a:spcBef>
        <a:buNone/>
        <a:defRPr lang="en-US" sz="2745" b="0" kern="1200" cap="none" spc="-49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5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35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1435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5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35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176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285895" indent="0" algn="l" defTabSz="914358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176" kern="1200">
          <a:solidFill>
            <a:schemeClr val="tx1"/>
          </a:solidFill>
          <a:latin typeface="+mn-lt"/>
          <a:ea typeface="+mn-ea"/>
          <a:cs typeface="+mn-cs"/>
        </a:defRPr>
      </a:lvl7pPr>
      <a:lvl8pPr marL="3428844" indent="-228590" algn="l" defTabSz="91435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24" indent="-228590" algn="l" defTabSz="91435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7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6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7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5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4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4" algn="l" defTabSz="91435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93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0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5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  <p:sldLayoutId id="2147484136" r:id="rId12"/>
    <p:sldLayoutId id="2147484137" r:id="rId13"/>
    <p:sldLayoutId id="2147484138" r:id="rId14"/>
    <p:sldLayoutId id="2147484139" r:id="rId15"/>
    <p:sldLayoutId id="2147484140" r:id="rId16"/>
    <p:sldLayoutId id="2147484141" r:id="rId17"/>
    <p:sldLayoutId id="2147484142" r:id="rId18"/>
    <p:sldLayoutId id="2147484143" r:id="rId19"/>
    <p:sldLayoutId id="2147484144" r:id="rId20"/>
    <p:sldLayoutId id="2147484145" r:id="rId21"/>
    <p:sldLayoutId id="2147484146" r:id="rId22"/>
    <p:sldLayoutId id="2147484147" r:id="rId23"/>
    <p:sldLayoutId id="2147484148" r:id="rId24"/>
    <p:sldLayoutId id="2147484149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1732449"/>
            <a:ext cx="10353762" cy="4058751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38870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  <p:sldLayoutId id="2147484159" r:id="rId9"/>
    <p:sldLayoutId id="2147484160" r:id="rId10"/>
    <p:sldLayoutId id="2147484161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70" r:id="rId19"/>
  </p:sldLayoutIdLst>
  <p:transition>
    <p:fade/>
  </p:transition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pplication-gateway/how-application-gateway-works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3.xml"/><Relationship Id="rId4" Type="http://schemas.openxmlformats.org/officeDocument/2006/relationships/hyperlink" Target="https://docs.microsoft.com/en-us/azure/frontdoor/front-door-lb-with-azure-app-delivery-suite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frontdoor/front-door-overview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web-application-firewall/ag/ag-overview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guide/technology-choices/load-balancing-overview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3.xml"/><Relationship Id="rId4" Type="http://schemas.openxmlformats.org/officeDocument/2006/relationships/hyperlink" Target="https://docs.microsoft.com/en-us/azure/load-balancer/componen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336393"/>
            <a:ext cx="1219199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MENTORIA ARQUITETO CLOUD </a:t>
            </a:r>
            <a:b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pt-BR" sz="4800" b="1" dirty="0">
              <a:solidFill>
                <a:srgbClr val="0F4AB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IFRAESTRUTURA COMO CÓDIGO: TERRAFOR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A1761B-601D-4C53-BFD3-123F8E4B4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4668" y="6334432"/>
            <a:ext cx="1382663" cy="55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910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GATEWAY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FE9299A3-2FAD-45DA-A922-71CC4376B9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BE0DDE60-82BA-4A9D-9FDC-E101000648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BE6129-4271-4043-A592-49EDB4A99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5300" y="2368758"/>
            <a:ext cx="7341399" cy="2425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36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PPLICATION GATEWAY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F3E912-7683-4001-BA72-E3E6DB273071}"/>
              </a:ext>
            </a:extLst>
          </p:cNvPr>
          <p:cNvSpPr txBox="1"/>
          <p:nvPr/>
        </p:nvSpPr>
        <p:spPr>
          <a:xfrm>
            <a:off x="106394" y="6228251"/>
            <a:ext cx="48018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3"/>
              </a:rPr>
              <a:t>https://docs.microsoft.com/en-us/azure/application-gateway/how-application-gateway-works</a:t>
            </a:r>
            <a:endParaRPr lang="en-GB" sz="11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17812C-F7F7-4578-9119-61BA790D37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752" y="1897626"/>
            <a:ext cx="8178496" cy="3255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3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B APPLICATION FIREWALL (WAF)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AutoShape 2" descr="imageURLroute">
            <a:extLst>
              <a:ext uri="{FF2B5EF4-FFF2-40B4-BE49-F238E27FC236}">
                <a16:creationId xmlns:a16="http://schemas.microsoft.com/office/drawing/2014/main" id="{5434C279-F73F-46A8-A848-19DF8F27F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26" name="Picture 2" descr="WAF overview">
            <a:extLst>
              <a:ext uri="{FF2B5EF4-FFF2-40B4-BE49-F238E27FC236}">
                <a16:creationId xmlns:a16="http://schemas.microsoft.com/office/drawing/2014/main" id="{B68D1396-4C93-42C4-B4AD-76B6C9EE6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882" y="1248239"/>
            <a:ext cx="6820053" cy="4606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442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noProof="0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AD BALANCERS GLOBAL</a:t>
            </a:r>
          </a:p>
        </p:txBody>
      </p:sp>
      <p:sp>
        <p:nvSpPr>
          <p:cNvPr id="3" name="AutoShape 2" descr="imageURLroute">
            <a:extLst>
              <a:ext uri="{FF2B5EF4-FFF2-40B4-BE49-F238E27FC236}">
                <a16:creationId xmlns:a16="http://schemas.microsoft.com/office/drawing/2014/main" id="{5434C279-F73F-46A8-A848-19DF8F27F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AC04704-3A81-49DC-B3F8-6356E7192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868" y="856007"/>
            <a:ext cx="9922264" cy="545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4646C89-E16A-4A54-9129-424E5D8402B6}"/>
              </a:ext>
            </a:extLst>
          </p:cNvPr>
          <p:cNvSpPr txBox="1"/>
          <p:nvPr/>
        </p:nvSpPr>
        <p:spPr>
          <a:xfrm>
            <a:off x="106394" y="6362361"/>
            <a:ext cx="48018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4"/>
              </a:rPr>
              <a:t>https://docs.microsoft.com/en-us/azure/frontdoor/front-door-lb-with-azure-app-delivery-suite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140849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FROONT DOOR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F3E912-7683-4001-BA72-E3E6DB273071}"/>
              </a:ext>
            </a:extLst>
          </p:cNvPr>
          <p:cNvSpPr txBox="1"/>
          <p:nvPr/>
        </p:nvSpPr>
        <p:spPr>
          <a:xfrm>
            <a:off x="106394" y="6228251"/>
            <a:ext cx="335456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3"/>
              </a:rPr>
              <a:t>https://docs.microsoft.com/en-us/azure/frontdoor/front-door-overview</a:t>
            </a:r>
            <a:endParaRPr lang="en-GB" sz="1100" dirty="0"/>
          </a:p>
          <a:p>
            <a:endParaRPr lang="en-GB" sz="11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4CBA9D-27B6-471A-A71D-D285B746BC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7298" y="925321"/>
            <a:ext cx="4636443" cy="5007358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3AE8F60-D819-4CF7-9AF0-B45B0239AC4A}"/>
              </a:ext>
            </a:extLst>
          </p:cNvPr>
          <p:cNvSpPr txBox="1">
            <a:spLocks/>
          </p:cNvSpPr>
          <p:nvPr/>
        </p:nvSpPr>
        <p:spPr>
          <a:xfrm>
            <a:off x="688258" y="2451809"/>
            <a:ext cx="10815483" cy="19543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delivery network (ADN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ad Balancer (Layer 7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-region (Global)</a:t>
            </a:r>
          </a:p>
        </p:txBody>
      </p:sp>
    </p:spTree>
    <p:extLst>
      <p:ext uri="{BB962C8B-B14F-4D97-AF65-F5344CB8AC3E}">
        <p14:creationId xmlns:p14="http://schemas.microsoft.com/office/powerpoint/2010/main" val="146373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FFIC MANAGER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F3E912-7683-4001-BA72-E3E6DB273071}"/>
              </a:ext>
            </a:extLst>
          </p:cNvPr>
          <p:cNvSpPr txBox="1"/>
          <p:nvPr/>
        </p:nvSpPr>
        <p:spPr>
          <a:xfrm>
            <a:off x="106394" y="6228251"/>
            <a:ext cx="48018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3"/>
              </a:rPr>
              <a:t>https://docs.microsoft.com/en-us/azure/web-application-firewall/ag/ag-overview</a:t>
            </a:r>
            <a:endParaRPr lang="en-GB" sz="11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5D83A2-3855-483E-BF72-7B29665959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391" y="1138802"/>
            <a:ext cx="5708546" cy="4677095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8B8F273-ACD8-44B8-914E-DABAB87FD1C8}"/>
              </a:ext>
            </a:extLst>
          </p:cNvPr>
          <p:cNvSpPr txBox="1">
            <a:spLocks/>
          </p:cNvSpPr>
          <p:nvPr/>
        </p:nvSpPr>
        <p:spPr>
          <a:xfrm>
            <a:off x="688258" y="2821141"/>
            <a:ext cx="10815483" cy="12157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S-based Load Balanc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-region (Global)</a:t>
            </a:r>
          </a:p>
        </p:txBody>
      </p:sp>
    </p:spTree>
    <p:extLst>
      <p:ext uri="{BB962C8B-B14F-4D97-AF65-F5344CB8AC3E}">
        <p14:creationId xmlns:p14="http://schemas.microsoft.com/office/powerpoint/2010/main" val="204606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2644170"/>
            <a:ext cx="121919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SESSÃO DE PERGUNTAS </a:t>
            </a:r>
            <a:b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pt-BR" sz="4800" b="1" dirty="0">
                <a:solidFill>
                  <a:srgbClr val="0F4AB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&amp; MENTORIA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E5843B-E9E9-4A96-ACEA-C4E3D9C05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4668" y="6334432"/>
            <a:ext cx="1382663" cy="55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9112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27585" y="1615511"/>
            <a:ext cx="1080565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fontAlgn="base"/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fontAlgn="base"/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ssisti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resumi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as aulas do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ódulo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6 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posta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resumo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com #RESUMOMODULO5</a:t>
            </a: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Fazer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tividades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da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trilha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rquiteto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Cloud da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entoria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 fontAlgn="base"/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7586" y="445091"/>
            <a:ext cx="107050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pt-BR" sz="4000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IVIDADES MENTORING #0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A2E538-76D9-4576-931D-14753CCBD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4668" y="6334432"/>
            <a:ext cx="1382663" cy="55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698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94968" y="6794"/>
            <a:ext cx="10679677" cy="970450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72EA05D-20E3-4207-8829-196BCD875084}"/>
              </a:ext>
            </a:extLst>
          </p:cNvPr>
          <p:cNvSpPr txBox="1">
            <a:spLocks/>
          </p:cNvSpPr>
          <p:nvPr/>
        </p:nvSpPr>
        <p:spPr>
          <a:xfrm>
            <a:off x="707923" y="1832134"/>
            <a:ext cx="10815483" cy="3099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afios</a:t>
            </a: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/ </a:t>
            </a:r>
            <a:r>
              <a:rPr lang="pt-BR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ções</a:t>
            </a: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eitos básico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ódulo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uepri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17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07923" y="0"/>
            <a:ext cx="10564958" cy="970450"/>
          </a:xfrm>
        </p:spPr>
        <p:txBody>
          <a:bodyPr/>
          <a:lstStyle/>
          <a:p>
            <a:pPr algn="l"/>
            <a:r>
              <a:rPr lang="en-US" b="1" noProof="0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ILABILITY SETS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707923" y="1832134"/>
            <a:ext cx="10815483" cy="26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ult domains (F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pdate domains (UD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Picture 4" descr="An illustration showing two fault domains with two virtual machines each. The two top virtual machines from each fault domain host Internet information service and are part of a common availability set. The next two virtual machines in each domain host SQL database and are part of another availability set. ">
            <a:extLst>
              <a:ext uri="{FF2B5EF4-FFF2-40B4-BE49-F238E27FC236}">
                <a16:creationId xmlns:a16="http://schemas.microsoft.com/office/drawing/2014/main" id="{47C57621-EE1D-42B5-9C2E-5F895AE7A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595" y="1628290"/>
            <a:ext cx="5884286" cy="3601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40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94968" y="6794"/>
            <a:ext cx="10679677" cy="970450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ILABILITY ZON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8A3AB8-51FF-4B48-88B0-1EA9DED99E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5227" y="1505250"/>
            <a:ext cx="6241545" cy="419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70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718D4D4-082D-4C7A-9B6C-031DB860A8AE}"/>
              </a:ext>
            </a:extLst>
          </p:cNvPr>
          <p:cNvSpPr txBox="1"/>
          <p:nvPr/>
        </p:nvSpPr>
        <p:spPr>
          <a:xfrm>
            <a:off x="0" y="3013501"/>
            <a:ext cx="12192001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4800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ÇÕES DE LOAD BALANC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11749E-82A3-4F88-85E7-BB4023B8E3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4668" y="6334432"/>
            <a:ext cx="1382663" cy="55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5609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URLroute">
            <a:extLst>
              <a:ext uri="{FF2B5EF4-FFF2-40B4-BE49-F238E27FC236}">
                <a16:creationId xmlns:a16="http://schemas.microsoft.com/office/drawing/2014/main" id="{5434C279-F73F-46A8-A848-19DF8F27F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F92A12-643C-45E0-A4C0-D24A8F7D79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918" y="0"/>
            <a:ext cx="67921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69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noProof="0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ÇÕES LOAD BALANCER AZURE</a:t>
            </a:r>
          </a:p>
        </p:txBody>
      </p:sp>
      <p:sp>
        <p:nvSpPr>
          <p:cNvPr id="3" name="AutoShape 2" descr="imageURLroute">
            <a:extLst>
              <a:ext uri="{FF2B5EF4-FFF2-40B4-BE49-F238E27FC236}">
                <a16:creationId xmlns:a16="http://schemas.microsoft.com/office/drawing/2014/main" id="{5434C279-F73F-46A8-A848-19DF8F27F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6BC355-2071-4708-B3AD-F16C903A520F}"/>
              </a:ext>
            </a:extLst>
          </p:cNvPr>
          <p:cNvSpPr txBox="1"/>
          <p:nvPr/>
        </p:nvSpPr>
        <p:spPr>
          <a:xfrm>
            <a:off x="106393" y="6362361"/>
            <a:ext cx="488839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3"/>
              </a:rPr>
              <a:t>https://docs.microsoft.com/en-us/azure/architecture/guide/technology-choices/load-balancing-overview</a:t>
            </a:r>
            <a:endParaRPr lang="en-GB" sz="1100" dirty="0"/>
          </a:p>
          <a:p>
            <a:endParaRPr lang="en-GB" sz="1100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D9055FA2-4B5E-4359-B7DD-EE2B36A22DBB}"/>
              </a:ext>
            </a:extLst>
          </p:cNvPr>
          <p:cNvGraphicFramePr>
            <a:graphicFrameLocks noGrp="1"/>
          </p:cNvGraphicFramePr>
          <p:nvPr/>
        </p:nvGraphicFramePr>
        <p:xfrm>
          <a:off x="904567" y="1939413"/>
          <a:ext cx="10382865" cy="328397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424363">
                  <a:extLst>
                    <a:ext uri="{9D8B030D-6E8A-4147-A177-3AD203B41FA5}">
                      <a16:colId xmlns:a16="http://schemas.microsoft.com/office/drawing/2014/main" val="4269936336"/>
                    </a:ext>
                  </a:extLst>
                </a:gridCol>
                <a:gridCol w="2226296">
                  <a:extLst>
                    <a:ext uri="{9D8B030D-6E8A-4147-A177-3AD203B41FA5}">
                      <a16:colId xmlns:a16="http://schemas.microsoft.com/office/drawing/2014/main" val="2767377645"/>
                    </a:ext>
                  </a:extLst>
                </a:gridCol>
                <a:gridCol w="1641987">
                  <a:extLst>
                    <a:ext uri="{9D8B030D-6E8A-4147-A177-3AD203B41FA5}">
                      <a16:colId xmlns:a16="http://schemas.microsoft.com/office/drawing/2014/main" val="3324563497"/>
                    </a:ext>
                  </a:extLst>
                </a:gridCol>
                <a:gridCol w="1494503">
                  <a:extLst>
                    <a:ext uri="{9D8B030D-6E8A-4147-A177-3AD203B41FA5}">
                      <a16:colId xmlns:a16="http://schemas.microsoft.com/office/drawing/2014/main" val="1709594745"/>
                    </a:ext>
                  </a:extLst>
                </a:gridCol>
                <a:gridCol w="2595716">
                  <a:extLst>
                    <a:ext uri="{9D8B030D-6E8A-4147-A177-3AD203B41FA5}">
                      <a16:colId xmlns:a16="http://schemas.microsoft.com/office/drawing/2014/main" val="2335678569"/>
                    </a:ext>
                  </a:extLst>
                </a:gridCol>
              </a:tblGrid>
              <a:tr h="544707">
                <a:tc>
                  <a:txBody>
                    <a:bodyPr/>
                    <a:lstStyle/>
                    <a:p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rviço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lobal/Regional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áfego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ront-</a:t>
                      </a:r>
                      <a:r>
                        <a:rPr lang="pt-BR" sz="2000" b="1" dirty="0" err="1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nd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ack-</a:t>
                      </a:r>
                      <a:r>
                        <a:rPr lang="pt-BR" sz="2000" b="1" dirty="0" err="1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nd</a:t>
                      </a:r>
                      <a:endParaRPr lang="en-GB" sz="20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807531"/>
                  </a:ext>
                </a:extLst>
              </a:tr>
              <a:tr h="544707"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zure Front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oor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lobal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TTP/s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ublic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ernet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acing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49166"/>
                  </a:ext>
                </a:extLst>
              </a:tr>
              <a:tr h="544707"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pplication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Gateway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gional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TTP/s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ublic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/ Private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zure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Ms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VMSS, App Services, IP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ddress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and FQDN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906378"/>
                  </a:ext>
                </a:extLst>
              </a:tr>
              <a:tr h="544707"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affic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Manager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lobal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HTTP/s (DNS)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ublic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zure App Services and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ublic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IP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ddress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375270"/>
                  </a:ext>
                </a:extLst>
              </a:tr>
              <a:tr h="544707"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ad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alancer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gional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HTTP/s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ublic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/</a:t>
                      </a:r>
                    </a:p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ivate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zure </a:t>
                      </a:r>
                      <a:r>
                        <a:rPr lang="pt-BR" sz="1800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Ms</a:t>
                      </a:r>
                      <a:r>
                        <a:rPr lang="pt-BR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and VMSS</a:t>
                      </a:r>
                      <a:endParaRPr lang="en-GB" sz="18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66050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1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LOAD BALANCER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F6B780-0926-48A7-B61E-537EEC3D3D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5243" y="1079090"/>
            <a:ext cx="3861513" cy="5341375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A086589F-41E0-4FA2-B476-46AEFDF90307}"/>
              </a:ext>
            </a:extLst>
          </p:cNvPr>
          <p:cNvSpPr txBox="1">
            <a:spLocks/>
          </p:cNvSpPr>
          <p:nvPr/>
        </p:nvSpPr>
        <p:spPr>
          <a:xfrm>
            <a:off x="688257" y="2322543"/>
            <a:ext cx="10815483" cy="2212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bli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n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97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757084" y="0"/>
            <a:ext cx="10805650" cy="875071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0F4A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LOAD BALANCER</a:t>
            </a:r>
            <a:endParaRPr lang="en-US" b="1" noProof="0" dirty="0">
              <a:solidFill>
                <a:srgbClr val="0F4AB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A086589F-41E0-4FA2-B476-46AEFDF90307}"/>
              </a:ext>
            </a:extLst>
          </p:cNvPr>
          <p:cNvSpPr txBox="1">
            <a:spLocks/>
          </p:cNvSpPr>
          <p:nvPr/>
        </p:nvSpPr>
        <p:spPr>
          <a:xfrm>
            <a:off x="688259" y="1626169"/>
            <a:ext cx="10815483" cy="37641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ontend IP Configur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ckend Poo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lth Prob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ad Balancing R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bound NAT Ru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3FC777-5274-44FD-9C9C-12F27319E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6958" y="2111659"/>
            <a:ext cx="6746783" cy="27931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AF3E912-7683-4001-BA72-E3E6DB273071}"/>
              </a:ext>
            </a:extLst>
          </p:cNvPr>
          <p:cNvSpPr txBox="1"/>
          <p:nvPr/>
        </p:nvSpPr>
        <p:spPr>
          <a:xfrm>
            <a:off x="106394" y="6228251"/>
            <a:ext cx="48018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cs typeface="Arial" panose="020B0604020202020204" pitchFamily="34" charset="0"/>
              </a:rPr>
              <a:t>Referências: </a:t>
            </a:r>
            <a:r>
              <a:rPr lang="en-GB" sz="1100" dirty="0">
                <a:hlinkClick r:id="rId4"/>
              </a:rPr>
              <a:t>https://docs.microsoft.com/en-us/azure/load-balancer/components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26812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jpeg"/></Relationships>
</file>

<file path=ppt/theme/theme1.xml><?xml version="1.0" encoding="utf-8"?>
<a:theme xmlns:a="http://schemas.openxmlformats.org/drawingml/2006/main" name="TechEd_2012_Template_16x9">
  <a:themeElements>
    <a:clrScheme name="TechED_201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3397D3"/>
      </a:hlink>
      <a:folHlink>
        <a:srgbClr val="E7B921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NG_MOC_Core_ModuleNew2">
  <a:themeElements>
    <a:clrScheme name="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8DAC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7F9BBC"/>
      </a:accent6>
      <a:hlink>
        <a:srgbClr val="006699"/>
      </a:hlink>
      <a:folHlink>
        <a:srgbClr val="000066"/>
      </a:folHlink>
    </a:clrScheme>
    <a:fontScheme name="2_Master_Templa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E4CD9A"/>
            </a:gs>
            <a:gs pos="100000">
              <a:srgbClr val="EEEFD7"/>
            </a:gs>
          </a:gsLst>
          <a:lin ang="270000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rgbClr val="AFAFAF"/>
          </a:outerShdw>
        </a:effectLst>
      </a:spPr>
      <a:bodyPr vert="horz" wrap="square" lIns="182880" tIns="45720" rIns="18288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E4CD9A"/>
            </a:gs>
            <a:gs pos="100000">
              <a:srgbClr val="EEEFD7"/>
            </a:gs>
          </a:gsLst>
          <a:lin ang="270000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rgbClr val="AFAFAF"/>
          </a:outerShdw>
        </a:effectLst>
      </a:spPr>
      <a:bodyPr vert="horz" wrap="square" lIns="182880" tIns="45720" rIns="18288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Master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aster_Templat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1FEF9"/>
        </a:accent1>
        <a:accent2>
          <a:srgbClr val="DC0081"/>
        </a:accent2>
        <a:accent3>
          <a:srgbClr val="FFFFFF"/>
        </a:accent3>
        <a:accent4>
          <a:srgbClr val="000000"/>
        </a:accent4>
        <a:accent5>
          <a:srgbClr val="DDFEFB"/>
        </a:accent5>
        <a:accent6>
          <a:srgbClr val="C70074"/>
        </a:accent6>
        <a:hlink>
          <a:srgbClr val="618FFD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618FFD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0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333399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1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000099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0099CC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006699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436F9F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5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E4BB0E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aster_Template 16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8DAC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F9BBC"/>
        </a:accent6>
        <a:hlink>
          <a:srgbClr val="FFFFFF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Azure Sept 2018">
  <a:themeElements>
    <a:clrScheme name="Custom 2">
      <a:dk1>
        <a:srgbClr val="3C3C41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_PowerPoint_Template_Sept2018.potx" id="{8B70E1FE-A8AF-41A2-BAE2-F3DCD0B2B476}" vid="{1F8C91C6-47C6-4534-9984-D89231FC0FC5}"/>
    </a:ext>
  </a:extLst>
</a:theme>
</file>

<file path=ppt/theme/theme5.xml><?xml version="1.0" encoding="utf-8"?>
<a:theme xmlns:a="http://schemas.openxmlformats.org/drawingml/2006/main" name="WHITE TEMPLATE">
  <a:themeElements>
    <a:clrScheme name="ST_Illustration_White_Blu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Illustration_2018_Cloud_011.potx" id="{762B47AA-A827-4F63-8EDD-1F6B4767BB62}" vid="{53DB83EF-4F78-4F48-A301-01610C79C1EF}"/>
    </a:ext>
  </a:extLst>
</a:theme>
</file>

<file path=ppt/theme/theme6.xml><?xml version="1.0" encoding="utf-8"?>
<a:theme xmlns:a="http://schemas.openxmlformats.org/drawingml/2006/main" name="Slate">
  <a:themeElements>
    <a:clrScheme name="Slate">
      <a:dk1>
        <a:sysClr val="windowText" lastClr="000000"/>
      </a:dk1>
      <a:lt1>
        <a:sysClr val="window" lastClr="FFFFFF"/>
      </a:lt1>
      <a:dk2>
        <a:srgbClr val="212123"/>
      </a:dk2>
      <a:lt2>
        <a:srgbClr val="DADADA"/>
      </a:lt2>
      <a:accent1>
        <a:srgbClr val="BC451B"/>
      </a:accent1>
      <a:accent2>
        <a:srgbClr val="D3BA68"/>
      </a:accent2>
      <a:accent3>
        <a:srgbClr val="BB8640"/>
      </a:accent3>
      <a:accent4>
        <a:srgbClr val="AD9277"/>
      </a:accent4>
      <a:accent5>
        <a:srgbClr val="A55A43"/>
      </a:accent5>
      <a:accent6>
        <a:srgbClr val="AD9D7B"/>
      </a:accent6>
      <a:hlink>
        <a:srgbClr val="E98052"/>
      </a:hlink>
      <a:folHlink>
        <a:srgbClr val="F4B69B"/>
      </a:folHlink>
    </a:clrScheme>
    <a:fontScheme name="Slate">
      <a:majorFont>
        <a:latin typeface="Calisto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sto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at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0000"/>
                <a:lumMod val="90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hardEdge"/>
          </a:sp3d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ate" id="{C3F70B94-7CE9-428E-ADC1-3269CC2C3385}" vid="{3F2DE9A5-64E6-437C-A389-CC4477E817E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D9D6FC8F37200489748172825D0683D" ma:contentTypeVersion="7" ma:contentTypeDescription="Crie um novo documento." ma:contentTypeScope="" ma:versionID="340c19d706dc10082c10d593c050ccc6">
  <xsd:schema xmlns:xsd="http://www.w3.org/2001/XMLSchema" xmlns:xs="http://www.w3.org/2001/XMLSchema" xmlns:p="http://schemas.microsoft.com/office/2006/metadata/properties" xmlns:ns3="555ead4f-7233-4c95-8a5e-9b5195ee445b" targetNamespace="http://schemas.microsoft.com/office/2006/metadata/properties" ma:root="true" ma:fieldsID="b5e73ad366e890ae5cc97a3dbe717f81" ns3:_="">
    <xsd:import namespace="555ead4f-7233-4c95-8a5e-9b5195ee44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5ead4f-7233-4c95-8a5e-9b5195ee44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419FD2-CC09-4B14-8991-F0A0D9625FEF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555ead4f-7233-4c95-8a5e-9b5195ee445b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532E56-CD3F-47AA-B0F5-4054EF5ED3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5ead4f-7233-4c95-8a5e-9b5195ee44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7AA7F26-F4C9-40C6-A495-356C690799C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457475[[fn=Frame]]</Template>
  <TotalTime>46975</TotalTime>
  <Words>967</Words>
  <Application>Microsoft Office PowerPoint</Application>
  <PresentationFormat>Widescreen</PresentationFormat>
  <Paragraphs>146</Paragraphs>
  <Slides>17</Slides>
  <Notes>14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36" baseType="lpstr">
      <vt:lpstr>Arial</vt:lpstr>
      <vt:lpstr>Calibri</vt:lpstr>
      <vt:lpstr>Calibri Light</vt:lpstr>
      <vt:lpstr>Calisto MT</vt:lpstr>
      <vt:lpstr>Consolas</vt:lpstr>
      <vt:lpstr>Segoe UI</vt:lpstr>
      <vt:lpstr>Segoe UI Light</vt:lpstr>
      <vt:lpstr>Segoe UI Semibold</vt:lpstr>
      <vt:lpstr>Segoe UI Semilight</vt:lpstr>
      <vt:lpstr>Verdana</vt:lpstr>
      <vt:lpstr>Wingdings</vt:lpstr>
      <vt:lpstr>Wingdings 2</vt:lpstr>
      <vt:lpstr>TechEd_2012_Template_16x9</vt:lpstr>
      <vt:lpstr>NG_MOC_Core_ModuleNew2</vt:lpstr>
      <vt:lpstr>HDOfficeLightV0</vt:lpstr>
      <vt:lpstr>Azure Sept 2018</vt:lpstr>
      <vt:lpstr>WHITE TEMPLATE</vt:lpstr>
      <vt:lpstr>Slate</vt:lpstr>
      <vt:lpstr>think-cell Slide</vt:lpstr>
      <vt:lpstr>Apresentação do PowerPoint</vt:lpstr>
      <vt:lpstr>AGENDA</vt:lpstr>
      <vt:lpstr>AVAILABILITY SETS</vt:lpstr>
      <vt:lpstr>AVAILABILITY ZONES</vt:lpstr>
      <vt:lpstr>Apresentação do PowerPoint</vt:lpstr>
      <vt:lpstr>Apresentação do PowerPoint</vt:lpstr>
      <vt:lpstr>OPÇÕES LOAD BALANCER AZURE</vt:lpstr>
      <vt:lpstr>AZURE LOAD BALANCER</vt:lpstr>
      <vt:lpstr>AZURE LOAD BALANCER</vt:lpstr>
      <vt:lpstr>APPLICATION GATEWAY</vt:lpstr>
      <vt:lpstr>AZURE APPLICATION GATEWAY</vt:lpstr>
      <vt:lpstr>WEB APPLICATION FIREWALL (WAF)</vt:lpstr>
      <vt:lpstr>LOAD BALANCERS GLOBAL</vt:lpstr>
      <vt:lpstr>AZURE FROONT DOOR</vt:lpstr>
      <vt:lpstr>TRAFFIC MANAGER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aAcademy©</dc:title>
  <dc:creator>Guilherme Maia</dc:creator>
  <cp:lastModifiedBy>Daniel Freitas</cp:lastModifiedBy>
  <cp:revision>423</cp:revision>
  <dcterms:created xsi:type="dcterms:W3CDTF">2016-07-06T01:27:38Z</dcterms:created>
  <dcterms:modified xsi:type="dcterms:W3CDTF">2021-06-14T00:5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fd79a58-7c78-4317-9182-93c2592781fa_Enabled">
    <vt:lpwstr>True</vt:lpwstr>
  </property>
  <property fmtid="{D5CDD505-2E9C-101B-9397-08002B2CF9AE}" pid="3" name="MSIP_Label_1fd79a58-7c78-4317-9182-93c2592781fa_SiteId">
    <vt:lpwstr>bde97a1b-5dd4-47a7-8208-2cbec99b5194</vt:lpwstr>
  </property>
  <property fmtid="{D5CDD505-2E9C-101B-9397-08002B2CF9AE}" pid="4" name="MSIP_Label_1fd79a58-7c78-4317-9182-93c2592781fa_Ref">
    <vt:lpwstr>https://api.informationprotection.azure.com/api/bde97a1b-5dd4-47a7-8208-2cbec99b5194</vt:lpwstr>
  </property>
  <property fmtid="{D5CDD505-2E9C-101B-9397-08002B2CF9AE}" pid="5" name="MSIP_Label_1fd79a58-7c78-4317-9182-93c2592781fa_SetBy">
    <vt:lpwstr>brasoftware.consultor@cozinhasitatiaia.com.br</vt:lpwstr>
  </property>
  <property fmtid="{D5CDD505-2E9C-101B-9397-08002B2CF9AE}" pid="6" name="MSIP_Label_1fd79a58-7c78-4317-9182-93c2592781fa_SetDate">
    <vt:lpwstr>2017-09-15T08:05:11.1875719-03:00</vt:lpwstr>
  </property>
  <property fmtid="{D5CDD505-2E9C-101B-9397-08002B2CF9AE}" pid="7" name="MSIP_Label_1fd79a58-7c78-4317-9182-93c2592781fa_Name">
    <vt:lpwstr>Público</vt:lpwstr>
  </property>
  <property fmtid="{D5CDD505-2E9C-101B-9397-08002B2CF9AE}" pid="8" name="MSIP_Label_1fd79a58-7c78-4317-9182-93c2592781fa_Application">
    <vt:lpwstr>Microsoft Azure Information Protection</vt:lpwstr>
  </property>
  <property fmtid="{D5CDD505-2E9C-101B-9397-08002B2CF9AE}" pid="9" name="MSIP_Label_1fd79a58-7c78-4317-9182-93c2592781fa_Extended_MSFT_Method">
    <vt:lpwstr>Automatic</vt:lpwstr>
  </property>
  <property fmtid="{D5CDD505-2E9C-101B-9397-08002B2CF9AE}" pid="10" name="Sensitivity">
    <vt:lpwstr>Público</vt:lpwstr>
  </property>
  <property fmtid="{D5CDD505-2E9C-101B-9397-08002B2CF9AE}" pid="11" name="ContentTypeId">
    <vt:lpwstr>0x010100DD9D6FC8F37200489748172825D0683D</vt:lpwstr>
  </property>
</Properties>
</file>